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notesSlides/notesSlide16.xml" ContentType="application/vnd.openxmlformats-officedocument.presentationml.notesSlide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notesSlides/notesSlide18.xml" ContentType="application/vnd.openxmlformats-officedocument.presentationml.notesSlide+xml"/>
  <Override PartName="/ppt/tags/tag31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2.xml" ContentType="application/vnd.openxmlformats-officedocument.presentationml.tags+xml"/>
  <Override PartName="/ppt/notesSlides/notesSlide20.xml" ContentType="application/vnd.openxmlformats-officedocument.presentationml.notesSlide+xml"/>
  <Override PartName="/ppt/tags/tag33.xml" ContentType="application/vnd.openxmlformats-officedocument.presentationml.tags+xml"/>
  <Override PartName="/ppt/notesSlides/notesSlide21.xml" ContentType="application/vnd.openxmlformats-officedocument.presentationml.notesSlide+xml"/>
  <Override PartName="/ppt/tags/tag34.xml" ContentType="application/vnd.openxmlformats-officedocument.presentationml.tags+xml"/>
  <Override PartName="/ppt/notesSlides/notesSlide22.xml" ContentType="application/vnd.openxmlformats-officedocument.presentationml.notesSlide+xml"/>
  <Override PartName="/ppt/tags/tag35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7" r:id="rId2"/>
    <p:sldId id="259" r:id="rId3"/>
    <p:sldId id="261" r:id="rId4"/>
    <p:sldId id="258" r:id="rId5"/>
    <p:sldId id="276" r:id="rId6"/>
    <p:sldId id="274" r:id="rId7"/>
    <p:sldId id="260" r:id="rId8"/>
    <p:sldId id="264" r:id="rId9"/>
    <p:sldId id="265" r:id="rId10"/>
    <p:sldId id="272" r:id="rId11"/>
    <p:sldId id="263" r:id="rId12"/>
    <p:sldId id="277" r:id="rId13"/>
    <p:sldId id="278" r:id="rId14"/>
    <p:sldId id="279" r:id="rId15"/>
    <p:sldId id="271" r:id="rId16"/>
    <p:sldId id="269" r:id="rId17"/>
    <p:sldId id="266" r:id="rId18"/>
    <p:sldId id="267" r:id="rId19"/>
    <p:sldId id="268" r:id="rId20"/>
    <p:sldId id="280" r:id="rId21"/>
    <p:sldId id="273" r:id="rId22"/>
    <p:sldId id="275" r:id="rId23"/>
    <p:sldId id="262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62626"/>
    <a:srgbClr val="FFFBEF"/>
    <a:srgbClr val="FFC000"/>
    <a:srgbClr val="000000"/>
    <a:srgbClr val="3F3F3F"/>
    <a:srgbClr val="5C5C5C"/>
    <a:srgbClr val="EFC94C"/>
    <a:srgbClr val="1A2530"/>
    <a:srgbClr val="DF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60"/>
  </p:normalViewPr>
  <p:slideViewPr>
    <p:cSldViewPr snapToGrid="0" showGuides="1">
      <p:cViewPr>
        <p:scale>
          <a:sx n="114" d="100"/>
          <a:sy n="114" d="100"/>
        </p:scale>
        <p:origin x="1032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microsoft.com/office/2011/relationships/chartStyle" Target="style4.xml"/><Relationship Id="rId2" Type="http://schemas.microsoft.com/office/2011/relationships/chartColorStyle" Target="colors4.xml"/><Relationship Id="rId3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microsoft.com/office/2011/relationships/chartStyle" Target="style5.xml"/><Relationship Id="rId2" Type="http://schemas.microsoft.com/office/2011/relationships/chartColorStyle" Target="colors5.xml"/><Relationship Id="rId3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tegory 1</c:v>
                </c:pt>
              </c:strCache>
            </c:strRef>
          </c:tx>
          <c:spPr>
            <a:ln w="19050" cmpd="sng">
              <a:solidFill>
                <a:schemeClr val="accent1"/>
              </a:solidFill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12700" cmpd="sng">
                <a:solidFill>
                  <a:schemeClr val="bg1"/>
                </a:solidFill>
              </a:ln>
              <a:effectLst/>
            </c:spPr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56.0</c:v>
                </c:pt>
                <c:pt idx="1">
                  <c:v>57.0</c:v>
                </c:pt>
                <c:pt idx="2">
                  <c:v>98.0</c:v>
                </c:pt>
                <c:pt idx="3">
                  <c:v>65.0</c:v>
                </c:pt>
                <c:pt idx="4">
                  <c:v>35.0</c:v>
                </c:pt>
                <c:pt idx="5">
                  <c:v>78.0</c:v>
                </c:pt>
                <c:pt idx="6">
                  <c:v>68.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tegory 2</c:v>
                </c:pt>
              </c:strCache>
            </c:strRef>
          </c:tx>
          <c:spPr>
            <a:ln w="19050" cmpd="sng">
              <a:solidFill>
                <a:schemeClr val="accent2"/>
              </a:solidFill>
            </a:ln>
            <a:effectLst/>
          </c:spPr>
          <c:marker>
            <c:symbol val="circle"/>
            <c:size val="8"/>
            <c:spPr>
              <a:solidFill>
                <a:schemeClr val="tx1"/>
              </a:solidFill>
              <a:ln w="12700" cmpd="sng">
                <a:solidFill>
                  <a:schemeClr val="bg1"/>
                </a:solidFill>
              </a:ln>
              <a:effectLst/>
            </c:spPr>
          </c:marker>
          <c:cat>
            <c:numRef>
              <c:f>Sheet1!$A$2:$A$8</c:f>
              <c:numCache>
                <c:formatCode>General</c:formatCode>
                <c:ptCount val="7"/>
                <c:pt idx="0">
                  <c:v>2010.0</c:v>
                </c:pt>
                <c:pt idx="1">
                  <c:v>2011.0</c:v>
                </c:pt>
                <c:pt idx="2">
                  <c:v>2012.0</c:v>
                </c:pt>
                <c:pt idx="3">
                  <c:v>2013.0</c:v>
                </c:pt>
                <c:pt idx="4">
                  <c:v>2014.0</c:v>
                </c:pt>
                <c:pt idx="5">
                  <c:v>2015.0</c:v>
                </c:pt>
                <c:pt idx="6">
                  <c:v>2016.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101.0</c:v>
                </c:pt>
                <c:pt idx="1">
                  <c:v>112.0</c:v>
                </c:pt>
                <c:pt idx="2">
                  <c:v>67.0</c:v>
                </c:pt>
                <c:pt idx="3">
                  <c:v>108.0</c:v>
                </c:pt>
                <c:pt idx="4">
                  <c:v>104.0</c:v>
                </c:pt>
                <c:pt idx="5">
                  <c:v>112.0</c:v>
                </c:pt>
                <c:pt idx="6">
                  <c:v>100.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65834336"/>
        <c:axId val="-2065831568"/>
      </c:lineChart>
      <c:catAx>
        <c:axId val="-2065834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/>
            </a:pPr>
            <a:endParaRPr lang="en-US"/>
          </a:p>
        </c:txPr>
        <c:crossAx val="-2065831568"/>
        <c:crosses val="autoZero"/>
        <c:auto val="1"/>
        <c:lblAlgn val="ctr"/>
        <c:lblOffset val="100"/>
        <c:noMultiLvlLbl val="0"/>
      </c:catAx>
      <c:valAx>
        <c:axId val="-2065831568"/>
        <c:scaling>
          <c:orientation val="minMax"/>
        </c:scaling>
        <c:delete val="0"/>
        <c:axPos val="l"/>
        <c:majorGridlines>
          <c:spPr>
            <a:ln w="3175" cmpd="sng">
              <a:solidFill>
                <a:srgbClr val="7F7F7F">
                  <a:alpha val="50000"/>
                </a:srgbClr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spPr>
          <a:ln>
            <a:noFill/>
          </a:ln>
        </c:spPr>
        <c:crossAx val="-2065834336"/>
        <c:crosses val="autoZero"/>
        <c:crossBetween val="midCat"/>
      </c:valAx>
      <c:spPr>
        <a:ln w="3175" cmpd="sng">
          <a:solidFill>
            <a:srgbClr val="7F7F7F">
              <a:alpha val="50000"/>
            </a:srgbClr>
          </a:solidFill>
        </a:ln>
      </c:spPr>
    </c:plotArea>
    <c:legend>
      <c:legendPos val="b"/>
      <c:layout>
        <c:manualLayout>
          <c:xMode val="edge"/>
          <c:yMode val="edge"/>
          <c:x val="0.0165513225019874"/>
          <c:y val="0.948974872036257"/>
          <c:w val="0.269090321386249"/>
          <c:h val="0.0472063955639383"/>
        </c:manualLayout>
      </c:layout>
      <c:overlay val="0"/>
      <c:txPr>
        <a:bodyPr/>
        <a:lstStyle/>
        <a:p>
          <a:pPr>
            <a:defRPr>
              <a:solidFill>
                <a:schemeClr val="accent4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100" b="0" i="0">
          <a:latin typeface="Source Sans Pro Light" panose="020B0403030403020204" pitchFamily="34" charset="-18"/>
          <a:ea typeface="Source Sans Pro Semibold" charset="0"/>
          <a:cs typeface="Source Sans Pro Semibold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.2</c:v>
                </c:pt>
                <c:pt idx="1">
                  <c:v>4.3</c:v>
                </c:pt>
                <c:pt idx="2">
                  <c:v>5.8</c:v>
                </c:pt>
                <c:pt idx="3">
                  <c:v>6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9C-4A85-9E02-0174211443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.2</c:v>
                </c:pt>
                <c:pt idx="1">
                  <c:v>3.3</c:v>
                </c:pt>
                <c:pt idx="2">
                  <c:v>4.0</c:v>
                </c:pt>
                <c:pt idx="3">
                  <c:v>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19C-4A85-9E02-0174211443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.5</c:v>
                </c:pt>
                <c:pt idx="1">
                  <c:v>2.2</c:v>
                </c:pt>
                <c:pt idx="2">
                  <c:v>3.2</c:v>
                </c:pt>
                <c:pt idx="3">
                  <c:v>5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19C-4A85-9E02-0174211443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2068125296"/>
        <c:axId val="-2068122016"/>
      </c:barChart>
      <c:catAx>
        <c:axId val="-206812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Source Sans Pro Light" panose="020B0403030403020204" pitchFamily="34" charset="-18"/>
                <a:ea typeface="+mn-ea"/>
                <a:cs typeface="+mn-cs"/>
              </a:defRPr>
            </a:pPr>
            <a:endParaRPr lang="en-US"/>
          </a:p>
        </c:txPr>
        <c:crossAx val="-2068122016"/>
        <c:crosses val="autoZero"/>
        <c:auto val="1"/>
        <c:lblAlgn val="ctr"/>
        <c:lblOffset val="100"/>
        <c:noMultiLvlLbl val="0"/>
      </c:catAx>
      <c:valAx>
        <c:axId val="-206812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Source Sans Pro Light" panose="020B0403030403020204" pitchFamily="34" charset="-18"/>
                <a:ea typeface="+mn-ea"/>
                <a:cs typeface="+mn-cs"/>
              </a:defRPr>
            </a:pPr>
            <a:endParaRPr lang="en-US"/>
          </a:p>
        </c:txPr>
        <c:crossAx val="-2068125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0105665164022403"/>
          <c:y val="0.946514817376221"/>
          <c:w val="0.222132583962688"/>
          <c:h val="0.0534851826237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Source Sans Pro Light" panose="020B0403030403020204" pitchFamily="34" charset="-18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  <a:latin typeface="Source Sans Pro Light" panose="020B0403030403020204" pitchFamily="34" charset="-18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7</c:v>
                </c:pt>
                <c:pt idx="1">
                  <c:v>0.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2</c:v>
                </c:pt>
                <c:pt idx="1">
                  <c:v>0.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87</c:v>
                </c:pt>
                <c:pt idx="1">
                  <c:v>0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18144589678121"/>
          <c:y val="0.0740563530037214"/>
          <c:w val="0.78236186369999"/>
          <c:h val="0.9259436469962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tx1">
                  <a:lumMod val="90000"/>
                  <a:lumOff val="1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.0</c:v>
                </c:pt>
                <c:pt idx="1">
                  <c:v>25.0</c:v>
                </c:pt>
                <c:pt idx="2">
                  <c:v>25.0</c:v>
                </c:pt>
                <c:pt idx="3">
                  <c:v>2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t>1/27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t>1/27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190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705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6130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015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6007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2311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5783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5653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0527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781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875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3689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7440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9432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182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655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7623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120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414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998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27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5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65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64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1398461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6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.emf"/><Relationship Id="rId7" Type="http://schemas.openxmlformats.org/officeDocument/2006/relationships/image" Target="../media/image2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1.emf"/><Relationship Id="rId7" Type="http://schemas.openxmlformats.org/officeDocument/2006/relationships/chart" Target="../charts/chart3.xml"/><Relationship Id="rId8" Type="http://schemas.openxmlformats.org/officeDocument/2006/relationships/chart" Target="../charts/chart4.xml"/><Relationship Id="rId9" Type="http://schemas.openxmlformats.org/officeDocument/2006/relationships/chart" Target="../charts/chart5.xml"/><Relationship Id="rId1" Type="http://schemas.openxmlformats.org/officeDocument/2006/relationships/vmlDrawing" Target="../drawings/vmlDrawing20.vml"/><Relationship Id="rId2" Type="http://schemas.openxmlformats.org/officeDocument/2006/relationships/tags" Target="../tags/tag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2" Type="http://schemas.openxmlformats.org/officeDocument/2006/relationships/tags" Target="../tags/tag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22.bin"/><Relationship Id="rId6" Type="http://schemas.openxmlformats.org/officeDocument/2006/relationships/image" Target="../media/image1.emf"/><Relationship Id="rId7" Type="http://schemas.openxmlformats.org/officeDocument/2006/relationships/image" Target="../media/image9.jpeg"/><Relationship Id="rId1" Type="http://schemas.openxmlformats.org/officeDocument/2006/relationships/vmlDrawing" Target="../drawings/vmlDrawing22.vml"/><Relationship Id="rId2" Type="http://schemas.openxmlformats.org/officeDocument/2006/relationships/tags" Target="../tags/tag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2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3.vml"/><Relationship Id="rId2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2" Type="http://schemas.openxmlformats.org/officeDocument/2006/relationships/tags" Target="../tags/tag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5.vml"/><Relationship Id="rId2" Type="http://schemas.openxmlformats.org/officeDocument/2006/relationships/tags" Target="../tags/tag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2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6.vml"/><Relationship Id="rId2" Type="http://schemas.openxmlformats.org/officeDocument/2006/relationships/tags" Target="../tags/tag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27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7.vml"/><Relationship Id="rId2" Type="http://schemas.openxmlformats.org/officeDocument/2006/relationships/tags" Target="../tags/tag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28.bin"/><Relationship Id="rId6" Type="http://schemas.openxmlformats.org/officeDocument/2006/relationships/image" Target="../media/image1.emf"/><Relationship Id="rId7" Type="http://schemas.openxmlformats.org/officeDocument/2006/relationships/hyperlink" Target="https://twitter.com/quarmony" TargetMode="External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" Type="http://schemas.openxmlformats.org/officeDocument/2006/relationships/vmlDrawing" Target="../drawings/vmlDrawing28.vml"/><Relationship Id="rId2" Type="http://schemas.openxmlformats.org/officeDocument/2006/relationships/tags" Target="../tags/tag3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1.emf"/><Relationship Id="rId7" Type="http://schemas.openxmlformats.org/officeDocument/2006/relationships/chart" Target="../charts/chart6.xml"/><Relationship Id="rId8" Type="http://schemas.openxmlformats.org/officeDocument/2006/relationships/hyperlink" Target="https://twitter.com/quarmony" TargetMode="External"/><Relationship Id="rId1" Type="http://schemas.openxmlformats.org/officeDocument/2006/relationships/vmlDrawing" Target="../drawings/vmlDrawing29.vml"/><Relationship Id="rId2" Type="http://schemas.openxmlformats.org/officeDocument/2006/relationships/tags" Target="../tags/tag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.emf"/><Relationship Id="rId7" Type="http://schemas.openxmlformats.org/officeDocument/2006/relationships/image" Target="../media/image3.jpeg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1.emf"/><Relationship Id="rId7" Type="http://schemas.openxmlformats.org/officeDocument/2006/relationships/image" Target="../media/image12.emf"/><Relationship Id="rId1" Type="http://schemas.openxmlformats.org/officeDocument/2006/relationships/vmlDrawing" Target="../drawings/vmlDrawing30.vml"/><Relationship Id="rId2" Type="http://schemas.openxmlformats.org/officeDocument/2006/relationships/tags" Target="../tags/tag3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21.xml"/><Relationship Id="rId5" Type="http://schemas.openxmlformats.org/officeDocument/2006/relationships/image" Target="../media/image13.jpeg"/><Relationship Id="rId6" Type="http://schemas.openxmlformats.org/officeDocument/2006/relationships/oleObject" Target="../embeddings/oleObject31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31.vml"/><Relationship Id="rId2" Type="http://schemas.openxmlformats.org/officeDocument/2006/relationships/tags" Target="../tags/tag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22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1.emf"/><Relationship Id="rId7" Type="http://schemas.openxmlformats.org/officeDocument/2006/relationships/image" Target="../media/image14.jpeg"/><Relationship Id="rId1" Type="http://schemas.openxmlformats.org/officeDocument/2006/relationships/vmlDrawing" Target="../drawings/vmlDrawing32.vml"/><Relationship Id="rId2" Type="http://schemas.openxmlformats.org/officeDocument/2006/relationships/tags" Target="../tags/tag3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4" Type="http://schemas.openxmlformats.org/officeDocument/2006/relationships/notesSlide" Target="../notesSlides/notesSlide23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1.emf"/><Relationship Id="rId7" Type="http://schemas.openxmlformats.org/officeDocument/2006/relationships/image" Target="../media/image15.png"/><Relationship Id="rId8" Type="http://schemas.openxmlformats.org/officeDocument/2006/relationships/hyperlink" Target="https://twitter.com/quarmony" TargetMode="External"/><Relationship Id="rId1" Type="http://schemas.openxmlformats.org/officeDocument/2006/relationships/vmlDrawing" Target="../drawings/vmlDrawing33.vml"/><Relationship Id="rId2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8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13.bin"/><Relationship Id="rId7" Type="http://schemas.openxmlformats.org/officeDocument/2006/relationships/image" Target="../media/image1.emf"/><Relationship Id="rId8" Type="http://schemas.openxmlformats.org/officeDocument/2006/relationships/image" Target="../media/image4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.emf"/><Relationship Id="rId7" Type="http://schemas.openxmlformats.org/officeDocument/2006/relationships/image" Target="../media/image5.jpeg"/><Relationship Id="rId1" Type="http://schemas.openxmlformats.org/officeDocument/2006/relationships/vmlDrawing" Target="../drawings/vmlDrawing14.vml"/><Relationship Id="rId2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1.emf"/><Relationship Id="rId7" Type="http://schemas.openxmlformats.org/officeDocument/2006/relationships/image" Target="../media/image6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1.emf"/><Relationship Id="rId7" Type="http://schemas.openxmlformats.org/officeDocument/2006/relationships/image" Target="../media/image7.jpeg"/><Relationship Id="rId1" Type="http://schemas.openxmlformats.org/officeDocument/2006/relationships/vmlDrawing" Target="../drawings/vmlDrawing16.vml"/><Relationship Id="rId2" Type="http://schemas.openxmlformats.org/officeDocument/2006/relationships/tags" Target="../tags/tag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1.emf"/><Relationship Id="rId7" Type="http://schemas.openxmlformats.org/officeDocument/2006/relationships/image" Target="../media/image8.jpeg"/><Relationship Id="rId1" Type="http://schemas.openxmlformats.org/officeDocument/2006/relationships/vmlDrawing" Target="../drawings/vmlDrawing17.vml"/><Relationship Id="rId2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8.bin"/><Relationship Id="rId6" Type="http://schemas.openxmlformats.org/officeDocument/2006/relationships/image" Target="../media/image1.emf"/><Relationship Id="rId7" Type="http://schemas.openxmlformats.org/officeDocument/2006/relationships/chart" Target="../charts/chart1.xml"/><Relationship Id="rId1" Type="http://schemas.openxmlformats.org/officeDocument/2006/relationships/vmlDrawing" Target="../drawings/vmlDrawing18.vml"/><Relationship Id="rId2" Type="http://schemas.openxmlformats.org/officeDocument/2006/relationships/tags" Target="../tags/tag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1.emf"/><Relationship Id="rId7" Type="http://schemas.openxmlformats.org/officeDocument/2006/relationships/chart" Target="../charts/chart2.xml"/><Relationship Id="rId1" Type="http://schemas.openxmlformats.org/officeDocument/2006/relationships/vmlDrawing" Target="../drawings/vmlDrawing19.vml"/><Relationship Id="rId2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0803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0" y="-22578"/>
            <a:ext cx="779779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797800" y="-22578"/>
            <a:ext cx="4394200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7797800" y="-22578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129507" y="1752117"/>
            <a:ext cx="3967160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Busienss</a:t>
            </a:r>
            <a:r>
              <a:rPr lang="en-US" dirty="0" smtClean="0"/>
              <a:t> presentation</a:t>
            </a:r>
            <a:endParaRPr lang="en-US" dirty="0"/>
          </a:p>
        </p:txBody>
      </p:sp>
      <p:sp>
        <p:nvSpPr>
          <p:cNvPr id="86" name="Content Placeholder 15"/>
          <p:cNvSpPr txBox="1">
            <a:spLocks/>
          </p:cNvSpPr>
          <p:nvPr/>
        </p:nvSpPr>
        <p:spPr>
          <a:xfrm>
            <a:off x="8129507" y="640067"/>
            <a:ext cx="3967160" cy="92333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Kotio</a:t>
            </a:r>
            <a:endParaRPr lang="en-US" dirty="0"/>
          </a:p>
        </p:txBody>
      </p:sp>
      <p:sp>
        <p:nvSpPr>
          <p:cNvPr id="87" name="Content Placeholder 15"/>
          <p:cNvSpPr txBox="1">
            <a:spLocks/>
          </p:cNvSpPr>
          <p:nvPr/>
        </p:nvSpPr>
        <p:spPr>
          <a:xfrm>
            <a:off x="8129507" y="6329319"/>
            <a:ext cx="396716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1800" b="0" i="0" kern="1200" baseline="0" dirty="0" smtClean="0">
                <a:solidFill>
                  <a:schemeClr val="tx1">
                    <a:lumMod val="90000"/>
                    <a:lumOff val="10000"/>
                  </a:schemeClr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Warsaw, 14/10/2016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0460976" y="1378368"/>
            <a:ext cx="6421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914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220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4494617" y="0"/>
            <a:ext cx="7697383" cy="5628384"/>
            <a:chOff x="2979926" y="-33603"/>
            <a:chExt cx="6221676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39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3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4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6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7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9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2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3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4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5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6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8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1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2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3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4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5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6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7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0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1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2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3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4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5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6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7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8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9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0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1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2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3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4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528690766"/>
              </p:ext>
            </p:extLst>
          </p:nvPr>
        </p:nvGraphicFramePr>
        <p:xfrm>
          <a:off x="4022774" y="1410707"/>
          <a:ext cx="2427641" cy="2354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246057526"/>
              </p:ext>
            </p:extLst>
          </p:nvPr>
        </p:nvGraphicFramePr>
        <p:xfrm>
          <a:off x="6591148" y="1410707"/>
          <a:ext cx="2427641" cy="2354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689373249"/>
              </p:ext>
            </p:extLst>
          </p:nvPr>
        </p:nvGraphicFramePr>
        <p:xfrm>
          <a:off x="9159521" y="1410707"/>
          <a:ext cx="2427641" cy="2354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87" name="Straight Connector 86"/>
          <p:cNvCxnSpPr/>
          <p:nvPr/>
        </p:nvCxnSpPr>
        <p:spPr>
          <a:xfrm>
            <a:off x="4210756" y="5983113"/>
            <a:ext cx="7681207" cy="0"/>
          </a:xfrm>
          <a:prstGeom prst="line">
            <a:avLst/>
          </a:prstGeom>
          <a:ln w="76200">
            <a:solidFill>
              <a:schemeClr val="bg1">
                <a:lumMod val="7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 flipH="1">
            <a:off x="5281748" y="3980769"/>
            <a:ext cx="0" cy="1934609"/>
          </a:xfrm>
          <a:prstGeom prst="line">
            <a:avLst/>
          </a:prstGeom>
          <a:ln w="285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 flipH="1">
            <a:off x="7850122" y="3980769"/>
            <a:ext cx="0" cy="1934609"/>
          </a:xfrm>
          <a:prstGeom prst="line">
            <a:avLst/>
          </a:prstGeom>
          <a:ln w="285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 flipH="1">
            <a:off x="10418495" y="3980769"/>
            <a:ext cx="0" cy="1934609"/>
          </a:xfrm>
          <a:prstGeom prst="line">
            <a:avLst/>
          </a:prstGeom>
          <a:ln w="285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Content Placeholder 15"/>
          <p:cNvSpPr txBox="1">
            <a:spLocks/>
          </p:cNvSpPr>
          <p:nvPr/>
        </p:nvSpPr>
        <p:spPr>
          <a:xfrm rot="18900000">
            <a:off x="5076339" y="6270825"/>
            <a:ext cx="27956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2014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94" name="Content Placeholder 15"/>
          <p:cNvSpPr txBox="1">
            <a:spLocks/>
          </p:cNvSpPr>
          <p:nvPr/>
        </p:nvSpPr>
        <p:spPr>
          <a:xfrm rot="18900000">
            <a:off x="7644712" y="6270825"/>
            <a:ext cx="27956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2015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95" name="Content Placeholder 15"/>
          <p:cNvSpPr txBox="1">
            <a:spLocks/>
          </p:cNvSpPr>
          <p:nvPr/>
        </p:nvSpPr>
        <p:spPr>
          <a:xfrm rot="18900000">
            <a:off x="10213086" y="6270825"/>
            <a:ext cx="27956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2016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96" name="Content Placeholder 15"/>
          <p:cNvSpPr txBox="1">
            <a:spLocks/>
          </p:cNvSpPr>
          <p:nvPr/>
        </p:nvSpPr>
        <p:spPr>
          <a:xfrm>
            <a:off x="10082792" y="377367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Black" panose="020B0803030403020204" pitchFamily="34" charset="-18"/>
              </a:rPr>
              <a:t>EUROPE</a:t>
            </a:r>
            <a:endParaRPr lang="en-US" sz="3200" b="1" dirty="0">
              <a:solidFill>
                <a:schemeClr val="tx1">
                  <a:lumMod val="75000"/>
                  <a:lumOff val="25000"/>
                </a:schemeClr>
              </a:solidFill>
              <a:latin typeface="Source Sans Pro Black" panose="020B0803030403020204" pitchFamily="34" charset="-18"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5114339" y="5797632"/>
            <a:ext cx="334818" cy="334818"/>
            <a:chOff x="4882960" y="3371850"/>
            <a:chExt cx="469900" cy="469900"/>
          </a:xfrm>
        </p:grpSpPr>
        <p:sp>
          <p:nvSpPr>
            <p:cNvPr id="98" name="Oval 9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Oval 98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Oval 99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Group 100"/>
          <p:cNvGrpSpPr/>
          <p:nvPr/>
        </p:nvGrpSpPr>
        <p:grpSpPr>
          <a:xfrm flipV="1">
            <a:off x="7684686" y="5797632"/>
            <a:ext cx="334818" cy="334818"/>
            <a:chOff x="4882960" y="3371850"/>
            <a:chExt cx="469900" cy="469900"/>
          </a:xfrm>
        </p:grpSpPr>
        <p:sp>
          <p:nvSpPr>
            <p:cNvPr id="102" name="Oval 101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Oval 103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5" name="Group 104"/>
          <p:cNvGrpSpPr/>
          <p:nvPr/>
        </p:nvGrpSpPr>
        <p:grpSpPr>
          <a:xfrm flipV="1">
            <a:off x="10251086" y="5797632"/>
            <a:ext cx="334818" cy="334818"/>
            <a:chOff x="4882960" y="3371850"/>
            <a:chExt cx="469900" cy="469900"/>
          </a:xfrm>
        </p:grpSpPr>
        <p:sp>
          <p:nvSpPr>
            <p:cNvPr id="106" name="Oval 105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Oval 106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Oval 107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8" name="Straight Connector 87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5"/>
          <p:cNvSpPr txBox="1">
            <a:spLocks/>
          </p:cNvSpPr>
          <p:nvPr/>
        </p:nvSpPr>
        <p:spPr>
          <a:xfrm>
            <a:off x="4384017" y="3573526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325 k</a:t>
            </a:r>
            <a:endParaRPr lang="en-US" sz="2400" b="1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24" name="Content Placeholder 15"/>
          <p:cNvSpPr txBox="1">
            <a:spLocks/>
          </p:cNvSpPr>
          <p:nvPr/>
        </p:nvSpPr>
        <p:spPr>
          <a:xfrm>
            <a:off x="6952391" y="3573526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325 k</a:t>
            </a:r>
            <a:endParaRPr lang="en-US" sz="2400" b="1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25" name="Content Placeholder 15"/>
          <p:cNvSpPr txBox="1">
            <a:spLocks/>
          </p:cNvSpPr>
          <p:nvPr/>
        </p:nvSpPr>
        <p:spPr>
          <a:xfrm>
            <a:off x="9520764" y="3573526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325 k</a:t>
            </a:r>
            <a:endParaRPr lang="en-US" sz="2400" b="1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92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harts</a:t>
            </a:r>
            <a:endParaRPr lang="en-US" dirty="0"/>
          </a:p>
        </p:txBody>
      </p:sp>
      <p:sp>
        <p:nvSpPr>
          <p:cNvPr id="110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111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12732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201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7896577" y="1857023"/>
            <a:ext cx="3381024" cy="3393445"/>
            <a:chOff x="6462888" y="2082801"/>
            <a:chExt cx="3381024" cy="3393445"/>
          </a:xfrm>
        </p:grpSpPr>
        <p:grpSp>
          <p:nvGrpSpPr>
            <p:cNvPr id="26" name="Group 25"/>
            <p:cNvGrpSpPr/>
            <p:nvPr/>
          </p:nvGrpSpPr>
          <p:grpSpPr>
            <a:xfrm rot="4500000">
              <a:off x="6462887" y="2095224"/>
              <a:ext cx="3381024" cy="3381020"/>
              <a:chOff x="6615288" y="2314224"/>
              <a:chExt cx="3381024" cy="3381020"/>
            </a:xfrm>
          </p:grpSpPr>
          <p:sp>
            <p:nvSpPr>
              <p:cNvPr id="22" name="Arc 21"/>
              <p:cNvSpPr/>
              <p:nvPr/>
            </p:nvSpPr>
            <p:spPr>
              <a:xfrm>
                <a:off x="7334955" y="3033889"/>
                <a:ext cx="1941689" cy="1941689"/>
              </a:xfrm>
              <a:prstGeom prst="arc">
                <a:avLst>
                  <a:gd name="adj1" fmla="val 16266426"/>
                  <a:gd name="adj2" fmla="val 15524260"/>
                </a:avLst>
              </a:prstGeom>
              <a:ln w="190500" cap="rnd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Arc 22"/>
              <p:cNvSpPr/>
              <p:nvPr/>
            </p:nvSpPr>
            <p:spPr>
              <a:xfrm>
                <a:off x="6615288" y="2314224"/>
                <a:ext cx="3381024" cy="3381020"/>
              </a:xfrm>
              <a:prstGeom prst="arc">
                <a:avLst>
                  <a:gd name="adj1" fmla="val 16200000"/>
                  <a:gd name="adj2" fmla="val 16006982"/>
                </a:avLst>
              </a:prstGeom>
              <a:ln w="190500" cap="rnd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Arc 23"/>
              <p:cNvSpPr/>
              <p:nvPr/>
            </p:nvSpPr>
            <p:spPr>
              <a:xfrm>
                <a:off x="6846709" y="2545645"/>
                <a:ext cx="2918182" cy="2918178"/>
              </a:xfrm>
              <a:prstGeom prst="arc">
                <a:avLst>
                  <a:gd name="adj1" fmla="val 16200000"/>
                  <a:gd name="adj2" fmla="val 15976977"/>
                </a:avLst>
              </a:prstGeom>
              <a:ln w="190500" cap="rnd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Arc 24"/>
              <p:cNvSpPr/>
              <p:nvPr/>
            </p:nvSpPr>
            <p:spPr>
              <a:xfrm>
                <a:off x="7089421" y="2788356"/>
                <a:ext cx="2432758" cy="2432756"/>
              </a:xfrm>
              <a:prstGeom prst="arc">
                <a:avLst>
                  <a:gd name="adj1" fmla="val 16200000"/>
                  <a:gd name="adj2" fmla="val 15736698"/>
                </a:avLst>
              </a:prstGeom>
              <a:ln w="190500" cap="rnd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" name="Arc 8"/>
            <p:cNvSpPr/>
            <p:nvPr/>
          </p:nvSpPr>
          <p:spPr>
            <a:xfrm>
              <a:off x="7182555" y="2802466"/>
              <a:ext cx="1941689" cy="1941689"/>
            </a:xfrm>
            <a:prstGeom prst="arc">
              <a:avLst>
                <a:gd name="adj1" fmla="val 16266426"/>
                <a:gd name="adj2" fmla="val 2295450"/>
              </a:avLst>
            </a:prstGeom>
            <a:ln w="190500" cap="rnd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c 9"/>
            <p:cNvSpPr/>
            <p:nvPr/>
          </p:nvSpPr>
          <p:spPr>
            <a:xfrm>
              <a:off x="6462888" y="2082801"/>
              <a:ext cx="3381024" cy="3381020"/>
            </a:xfrm>
            <a:prstGeom prst="arc">
              <a:avLst>
                <a:gd name="adj1" fmla="val 16200000"/>
                <a:gd name="adj2" fmla="val 9294342"/>
              </a:avLst>
            </a:prstGeom>
            <a:ln w="190500" cap="rnd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Arc 10"/>
            <p:cNvSpPr/>
            <p:nvPr/>
          </p:nvSpPr>
          <p:spPr>
            <a:xfrm>
              <a:off x="6694309" y="2314222"/>
              <a:ext cx="2918182" cy="2918178"/>
            </a:xfrm>
            <a:prstGeom prst="arc">
              <a:avLst>
                <a:gd name="adj1" fmla="val 16200000"/>
                <a:gd name="adj2" fmla="val 5887132"/>
              </a:avLst>
            </a:prstGeom>
            <a:ln w="190500" cap="rnd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c 11"/>
            <p:cNvSpPr/>
            <p:nvPr/>
          </p:nvSpPr>
          <p:spPr>
            <a:xfrm>
              <a:off x="6937021" y="2556933"/>
              <a:ext cx="2432758" cy="2432756"/>
            </a:xfrm>
            <a:prstGeom prst="arc">
              <a:avLst>
                <a:gd name="adj1" fmla="val 16200000"/>
                <a:gd name="adj2" fmla="val 7201249"/>
              </a:avLst>
            </a:prstGeom>
            <a:ln w="190500" cap="rnd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Content Placeholder 15"/>
          <p:cNvSpPr txBox="1">
            <a:spLocks/>
          </p:cNvSpPr>
          <p:nvPr/>
        </p:nvSpPr>
        <p:spPr>
          <a:xfrm>
            <a:off x="9019822" y="1766958"/>
            <a:ext cx="4040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Content Placeholder 15"/>
          <p:cNvSpPr txBox="1">
            <a:spLocks/>
          </p:cNvSpPr>
          <p:nvPr/>
        </p:nvSpPr>
        <p:spPr>
          <a:xfrm>
            <a:off x="9019822" y="2013682"/>
            <a:ext cx="4040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Content Placeholder 15"/>
          <p:cNvSpPr txBox="1">
            <a:spLocks/>
          </p:cNvSpPr>
          <p:nvPr/>
        </p:nvSpPr>
        <p:spPr>
          <a:xfrm>
            <a:off x="9019822" y="2260406"/>
            <a:ext cx="4040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Content Placeholder 15"/>
          <p:cNvSpPr txBox="1">
            <a:spLocks/>
          </p:cNvSpPr>
          <p:nvPr/>
        </p:nvSpPr>
        <p:spPr>
          <a:xfrm>
            <a:off x="9019822" y="2507130"/>
            <a:ext cx="4040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b="1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  <a:endParaRPr lang="en-US" sz="1200" b="1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Freeform 10"/>
          <p:cNvSpPr>
            <a:spLocks/>
          </p:cNvSpPr>
          <p:nvPr/>
        </p:nvSpPr>
        <p:spPr bwMode="auto">
          <a:xfrm>
            <a:off x="4568580" y="1493695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26"/>
          <p:cNvSpPr>
            <a:spLocks/>
          </p:cNvSpPr>
          <p:nvPr/>
        </p:nvSpPr>
        <p:spPr bwMode="auto">
          <a:xfrm>
            <a:off x="4568580" y="2585328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7"/>
          <p:cNvSpPr>
            <a:spLocks/>
          </p:cNvSpPr>
          <p:nvPr/>
        </p:nvSpPr>
        <p:spPr bwMode="auto">
          <a:xfrm>
            <a:off x="4568580" y="4763911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57"/>
          <p:cNvSpPr>
            <a:spLocks/>
          </p:cNvSpPr>
          <p:nvPr/>
        </p:nvSpPr>
        <p:spPr bwMode="auto">
          <a:xfrm>
            <a:off x="4568580" y="3676961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2" name="Group 71"/>
          <p:cNvGrpSpPr/>
          <p:nvPr/>
        </p:nvGrpSpPr>
        <p:grpSpPr>
          <a:xfrm>
            <a:off x="5449697" y="1454656"/>
            <a:ext cx="1795831" cy="784830"/>
            <a:chOff x="5437382" y="4220934"/>
            <a:chExt cx="1795831" cy="784830"/>
          </a:xfrm>
        </p:grpSpPr>
        <p:sp>
          <p:nvSpPr>
            <p:cNvPr id="73" name="Content Placeholder 15"/>
            <p:cNvSpPr txBox="1">
              <a:spLocks/>
            </p:cNvSpPr>
            <p:nvPr/>
          </p:nvSpPr>
          <p:spPr>
            <a:xfrm>
              <a:off x="5437382" y="4220934"/>
              <a:ext cx="1272243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i="1" dirty="0" smtClean="0">
                  <a:solidFill>
                    <a:schemeClr val="bg1">
                      <a:lumMod val="85000"/>
                    </a:schemeClr>
                  </a:solidFill>
                  <a:latin typeface="Source Sans Pro Black" panose="020B0803030403020204" pitchFamily="34" charset="-18"/>
                </a:rPr>
                <a:t>75%</a:t>
              </a:r>
              <a:endParaRPr lang="en-US" sz="3600" b="1" i="1" dirty="0">
                <a:solidFill>
                  <a:schemeClr val="bg1">
                    <a:lumMod val="85000"/>
                  </a:schemeClr>
                </a:solidFill>
                <a:latin typeface="Source Sans Pro Black" panose="020B0803030403020204" pitchFamily="34" charset="-18"/>
              </a:endParaRPr>
            </a:p>
          </p:txBody>
        </p:sp>
        <p:sp>
          <p:nvSpPr>
            <p:cNvPr id="74" name="Content Placeholder 15"/>
            <p:cNvSpPr txBox="1">
              <a:spLocks/>
            </p:cNvSpPr>
            <p:nvPr/>
          </p:nvSpPr>
          <p:spPr>
            <a:xfrm>
              <a:off x="5437382" y="4774932"/>
              <a:ext cx="1795831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500" b="1" i="1" dirty="0" smtClean="0">
                  <a:solidFill>
                    <a:schemeClr val="accent4"/>
                  </a:solidFill>
                </a:rPr>
                <a:t>Your text here</a:t>
              </a:r>
              <a:endParaRPr lang="en-US" sz="1500" b="1" i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75" name="Content Placeholder 15"/>
          <p:cNvSpPr txBox="1">
            <a:spLocks/>
          </p:cNvSpPr>
          <p:nvPr/>
        </p:nvSpPr>
        <p:spPr>
          <a:xfrm>
            <a:off x="4184569" y="1580024"/>
            <a:ext cx="4034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A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76" name="Content Placeholder 15"/>
          <p:cNvSpPr txBox="1">
            <a:spLocks/>
          </p:cNvSpPr>
          <p:nvPr/>
        </p:nvSpPr>
        <p:spPr>
          <a:xfrm>
            <a:off x="4184569" y="2680317"/>
            <a:ext cx="4034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B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77" name="Content Placeholder 15"/>
          <p:cNvSpPr txBox="1">
            <a:spLocks/>
          </p:cNvSpPr>
          <p:nvPr/>
        </p:nvSpPr>
        <p:spPr>
          <a:xfrm>
            <a:off x="4184569" y="3780610"/>
            <a:ext cx="4034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C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78" name="Content Placeholder 15"/>
          <p:cNvSpPr txBox="1">
            <a:spLocks/>
          </p:cNvSpPr>
          <p:nvPr/>
        </p:nvSpPr>
        <p:spPr>
          <a:xfrm>
            <a:off x="4184569" y="4880904"/>
            <a:ext cx="40344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D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5449697" y="2551447"/>
            <a:ext cx="1795831" cy="784830"/>
            <a:chOff x="5437382" y="4220934"/>
            <a:chExt cx="1795831" cy="784830"/>
          </a:xfrm>
        </p:grpSpPr>
        <p:sp>
          <p:nvSpPr>
            <p:cNvPr id="80" name="Content Placeholder 15"/>
            <p:cNvSpPr txBox="1">
              <a:spLocks/>
            </p:cNvSpPr>
            <p:nvPr/>
          </p:nvSpPr>
          <p:spPr>
            <a:xfrm>
              <a:off x="5437382" y="4220934"/>
              <a:ext cx="1272243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i="1" dirty="0" smtClean="0">
                  <a:solidFill>
                    <a:schemeClr val="bg1">
                      <a:lumMod val="85000"/>
                    </a:schemeClr>
                  </a:solidFill>
                  <a:latin typeface="Source Sans Pro Black" panose="020B0803030403020204" pitchFamily="34" charset="-18"/>
                </a:rPr>
                <a:t>75%</a:t>
              </a:r>
              <a:endParaRPr lang="en-US" sz="3600" b="1" i="1" dirty="0">
                <a:solidFill>
                  <a:schemeClr val="bg1">
                    <a:lumMod val="85000"/>
                  </a:schemeClr>
                </a:solidFill>
                <a:latin typeface="Source Sans Pro Black" panose="020B0803030403020204" pitchFamily="34" charset="-18"/>
              </a:endParaRPr>
            </a:p>
          </p:txBody>
        </p:sp>
        <p:sp>
          <p:nvSpPr>
            <p:cNvPr id="81" name="Content Placeholder 15"/>
            <p:cNvSpPr txBox="1">
              <a:spLocks/>
            </p:cNvSpPr>
            <p:nvPr/>
          </p:nvSpPr>
          <p:spPr>
            <a:xfrm>
              <a:off x="5437382" y="4774932"/>
              <a:ext cx="1795831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500" b="1" i="1" dirty="0" smtClean="0">
                  <a:solidFill>
                    <a:schemeClr val="accent4"/>
                  </a:solidFill>
                </a:rPr>
                <a:t>Your text here</a:t>
              </a:r>
              <a:endParaRPr lang="en-US" sz="1500" b="1" i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5449697" y="3648238"/>
            <a:ext cx="1795831" cy="784830"/>
            <a:chOff x="5437382" y="4220934"/>
            <a:chExt cx="1795831" cy="784830"/>
          </a:xfrm>
        </p:grpSpPr>
        <p:sp>
          <p:nvSpPr>
            <p:cNvPr id="83" name="Content Placeholder 15"/>
            <p:cNvSpPr txBox="1">
              <a:spLocks/>
            </p:cNvSpPr>
            <p:nvPr/>
          </p:nvSpPr>
          <p:spPr>
            <a:xfrm>
              <a:off x="5437382" y="4220934"/>
              <a:ext cx="1272243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i="1" dirty="0" smtClean="0">
                  <a:solidFill>
                    <a:schemeClr val="bg1">
                      <a:lumMod val="85000"/>
                    </a:schemeClr>
                  </a:solidFill>
                  <a:latin typeface="Source Sans Pro Black" panose="020B0803030403020204" pitchFamily="34" charset="-18"/>
                </a:rPr>
                <a:t>75%</a:t>
              </a:r>
              <a:endParaRPr lang="en-US" sz="3600" b="1" i="1" dirty="0">
                <a:solidFill>
                  <a:schemeClr val="bg1">
                    <a:lumMod val="85000"/>
                  </a:schemeClr>
                </a:solidFill>
                <a:latin typeface="Source Sans Pro Black" panose="020B0803030403020204" pitchFamily="34" charset="-18"/>
              </a:endParaRPr>
            </a:p>
          </p:txBody>
        </p:sp>
        <p:sp>
          <p:nvSpPr>
            <p:cNvPr id="84" name="Content Placeholder 15"/>
            <p:cNvSpPr txBox="1">
              <a:spLocks/>
            </p:cNvSpPr>
            <p:nvPr/>
          </p:nvSpPr>
          <p:spPr>
            <a:xfrm>
              <a:off x="5437382" y="4774932"/>
              <a:ext cx="1795831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500" b="1" i="1" dirty="0" smtClean="0"/>
                <a:t>Your text here</a:t>
              </a:r>
              <a:endParaRPr lang="en-US" sz="1500" b="1" i="1" dirty="0"/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5449697" y="4745029"/>
            <a:ext cx="1795831" cy="784830"/>
            <a:chOff x="5437382" y="4220934"/>
            <a:chExt cx="1795831" cy="784830"/>
          </a:xfrm>
        </p:grpSpPr>
        <p:sp>
          <p:nvSpPr>
            <p:cNvPr id="86" name="Content Placeholder 15"/>
            <p:cNvSpPr txBox="1">
              <a:spLocks/>
            </p:cNvSpPr>
            <p:nvPr/>
          </p:nvSpPr>
          <p:spPr>
            <a:xfrm>
              <a:off x="5437382" y="4220934"/>
              <a:ext cx="1272243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3600" b="1" i="1" dirty="0" smtClean="0">
                  <a:solidFill>
                    <a:schemeClr val="bg1">
                      <a:lumMod val="85000"/>
                    </a:schemeClr>
                  </a:solidFill>
                  <a:latin typeface="Source Sans Pro Black" panose="020B0803030403020204" pitchFamily="34" charset="-18"/>
                </a:rPr>
                <a:t>75%</a:t>
              </a:r>
              <a:endParaRPr lang="en-US" sz="3600" b="1" i="1" dirty="0">
                <a:solidFill>
                  <a:schemeClr val="bg1">
                    <a:lumMod val="85000"/>
                  </a:schemeClr>
                </a:solidFill>
                <a:latin typeface="Source Sans Pro Black" panose="020B0803030403020204" pitchFamily="34" charset="-18"/>
              </a:endParaRPr>
            </a:p>
          </p:txBody>
        </p:sp>
        <p:sp>
          <p:nvSpPr>
            <p:cNvPr id="87" name="Content Placeholder 15"/>
            <p:cNvSpPr txBox="1">
              <a:spLocks/>
            </p:cNvSpPr>
            <p:nvPr/>
          </p:nvSpPr>
          <p:spPr>
            <a:xfrm>
              <a:off x="5437382" y="4774932"/>
              <a:ext cx="1795831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848899" rtl="0" eaLnBrk="1" latinLnBrk="0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pl-PL" sz="2800" b="0" i="0" kern="1200" spc="-30" baseline="0" dirty="0" smtClean="0">
                  <a:solidFill>
                    <a:schemeClr val="tx1"/>
                  </a:solidFill>
                  <a:uFillTx/>
                  <a:latin typeface="Source Sans Pro Light" panose="020B0403030403020204" pitchFamily="34" charset="-18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500" b="1" i="1" dirty="0" smtClean="0">
                  <a:solidFill>
                    <a:schemeClr val="accent4"/>
                  </a:solidFill>
                </a:rPr>
                <a:t>Your text here</a:t>
              </a:r>
              <a:endParaRPr lang="en-US" sz="1500" b="1" i="1" dirty="0">
                <a:solidFill>
                  <a:schemeClr val="accent4"/>
                </a:solidFill>
              </a:endParaRPr>
            </a:p>
          </p:txBody>
        </p:sp>
      </p:grpSp>
      <p:cxnSp>
        <p:nvCxnSpPr>
          <p:cNvPr id="63" name="Straight Connector 62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harts</a:t>
            </a:r>
            <a:endParaRPr lang="en-US" dirty="0"/>
          </a:p>
        </p:txBody>
      </p:sp>
      <p:sp>
        <p:nvSpPr>
          <p:cNvPr id="66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4675904" y="1608583"/>
            <a:ext cx="519329" cy="446299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Freeform 64"/>
          <p:cNvSpPr/>
          <p:nvPr/>
        </p:nvSpPr>
        <p:spPr>
          <a:xfrm>
            <a:off x="4722972" y="2744720"/>
            <a:ext cx="425192" cy="425192"/>
          </a:xfrm>
          <a:custGeom>
            <a:avLst/>
            <a:gdLst/>
            <a:ahLst/>
            <a:cxnLst/>
            <a:rect l="l" t="t" r="r" b="b"/>
            <a:pathLst>
              <a:path w="1019175" h="1019175">
                <a:moveTo>
                  <a:pt x="429965" y="752438"/>
                </a:moveTo>
                <a:lnTo>
                  <a:pt x="429965" y="981354"/>
                </a:lnTo>
                <a:cubicBezTo>
                  <a:pt x="456506" y="985335"/>
                  <a:pt x="483047" y="987326"/>
                  <a:pt x="509588" y="987326"/>
                </a:cubicBezTo>
                <a:cubicBezTo>
                  <a:pt x="536129" y="987326"/>
                  <a:pt x="562670" y="985335"/>
                  <a:pt x="589211" y="981354"/>
                </a:cubicBezTo>
                <a:lnTo>
                  <a:pt x="589211" y="752438"/>
                </a:lnTo>
                <a:cubicBezTo>
                  <a:pt x="562670" y="760400"/>
                  <a:pt x="536129" y="764381"/>
                  <a:pt x="509588" y="764381"/>
                </a:cubicBezTo>
                <a:cubicBezTo>
                  <a:pt x="481720" y="764381"/>
                  <a:pt x="455179" y="760400"/>
                  <a:pt x="429965" y="752438"/>
                </a:cubicBezTo>
                <a:close/>
                <a:moveTo>
                  <a:pt x="738504" y="621060"/>
                </a:moveTo>
                <a:cubicBezTo>
                  <a:pt x="711963" y="672815"/>
                  <a:pt x="672815" y="711963"/>
                  <a:pt x="621060" y="738504"/>
                </a:cubicBezTo>
                <a:lnTo>
                  <a:pt x="621060" y="973392"/>
                </a:lnTo>
                <a:cubicBezTo>
                  <a:pt x="707318" y="952159"/>
                  <a:pt x="782297" y="909693"/>
                  <a:pt x="845995" y="845995"/>
                </a:cubicBezTo>
                <a:cubicBezTo>
                  <a:pt x="909694" y="782297"/>
                  <a:pt x="952159" y="707318"/>
                  <a:pt x="973392" y="621060"/>
                </a:cubicBezTo>
                <a:close/>
                <a:moveTo>
                  <a:pt x="45784" y="621060"/>
                </a:moveTo>
                <a:cubicBezTo>
                  <a:pt x="67016" y="707318"/>
                  <a:pt x="109482" y="782297"/>
                  <a:pt x="173180" y="845995"/>
                </a:cubicBezTo>
                <a:cubicBezTo>
                  <a:pt x="236879" y="909693"/>
                  <a:pt x="311857" y="952159"/>
                  <a:pt x="398115" y="973392"/>
                </a:cubicBezTo>
                <a:lnTo>
                  <a:pt x="398115" y="738504"/>
                </a:lnTo>
                <a:cubicBezTo>
                  <a:pt x="346360" y="711963"/>
                  <a:pt x="307212" y="672815"/>
                  <a:pt x="280672" y="621060"/>
                </a:cubicBezTo>
                <a:close/>
                <a:moveTo>
                  <a:pt x="752438" y="429965"/>
                </a:moveTo>
                <a:cubicBezTo>
                  <a:pt x="760400" y="456506"/>
                  <a:pt x="764382" y="483047"/>
                  <a:pt x="764382" y="509588"/>
                </a:cubicBezTo>
                <a:cubicBezTo>
                  <a:pt x="764382" y="537456"/>
                  <a:pt x="760400" y="563997"/>
                  <a:pt x="752438" y="589211"/>
                </a:cubicBezTo>
                <a:lnTo>
                  <a:pt x="981354" y="589211"/>
                </a:lnTo>
                <a:cubicBezTo>
                  <a:pt x="985335" y="562670"/>
                  <a:pt x="987326" y="536129"/>
                  <a:pt x="987326" y="509588"/>
                </a:cubicBezTo>
                <a:cubicBezTo>
                  <a:pt x="987326" y="481720"/>
                  <a:pt x="985335" y="455179"/>
                  <a:pt x="981354" y="429965"/>
                </a:cubicBezTo>
                <a:close/>
                <a:moveTo>
                  <a:pt x="37821" y="429965"/>
                </a:moveTo>
                <a:cubicBezTo>
                  <a:pt x="33840" y="456506"/>
                  <a:pt x="31849" y="483047"/>
                  <a:pt x="31849" y="509588"/>
                </a:cubicBezTo>
                <a:cubicBezTo>
                  <a:pt x="31849" y="536129"/>
                  <a:pt x="33840" y="562670"/>
                  <a:pt x="37821" y="589211"/>
                </a:cubicBezTo>
                <a:lnTo>
                  <a:pt x="266737" y="589211"/>
                </a:lnTo>
                <a:cubicBezTo>
                  <a:pt x="258775" y="562670"/>
                  <a:pt x="254794" y="536129"/>
                  <a:pt x="254794" y="509588"/>
                </a:cubicBezTo>
                <a:cubicBezTo>
                  <a:pt x="254794" y="483047"/>
                  <a:pt x="258775" y="456506"/>
                  <a:pt x="266737" y="429965"/>
                </a:cubicBezTo>
                <a:close/>
                <a:moveTo>
                  <a:pt x="509588" y="286643"/>
                </a:moveTo>
                <a:cubicBezTo>
                  <a:pt x="448543" y="286643"/>
                  <a:pt x="396125" y="308539"/>
                  <a:pt x="352332" y="352332"/>
                </a:cubicBezTo>
                <a:cubicBezTo>
                  <a:pt x="308540" y="396125"/>
                  <a:pt x="286643" y="448543"/>
                  <a:pt x="286643" y="509588"/>
                </a:cubicBezTo>
                <a:cubicBezTo>
                  <a:pt x="286643" y="570632"/>
                  <a:pt x="308540" y="623051"/>
                  <a:pt x="352332" y="666843"/>
                </a:cubicBezTo>
                <a:cubicBezTo>
                  <a:pt x="396125" y="710636"/>
                  <a:pt x="448543" y="732532"/>
                  <a:pt x="509588" y="732532"/>
                </a:cubicBezTo>
                <a:cubicBezTo>
                  <a:pt x="570632" y="732532"/>
                  <a:pt x="623051" y="710636"/>
                  <a:pt x="666843" y="666843"/>
                </a:cubicBezTo>
                <a:cubicBezTo>
                  <a:pt x="710636" y="623051"/>
                  <a:pt x="732532" y="570632"/>
                  <a:pt x="732532" y="509588"/>
                </a:cubicBezTo>
                <a:cubicBezTo>
                  <a:pt x="732532" y="448543"/>
                  <a:pt x="710636" y="396125"/>
                  <a:pt x="666843" y="352332"/>
                </a:cubicBezTo>
                <a:cubicBezTo>
                  <a:pt x="623051" y="308539"/>
                  <a:pt x="570632" y="286643"/>
                  <a:pt x="509588" y="286643"/>
                </a:cubicBezTo>
                <a:close/>
                <a:moveTo>
                  <a:pt x="621060" y="45783"/>
                </a:moveTo>
                <a:lnTo>
                  <a:pt x="621060" y="280671"/>
                </a:lnTo>
                <a:cubicBezTo>
                  <a:pt x="672815" y="307212"/>
                  <a:pt x="711963" y="346360"/>
                  <a:pt x="738504" y="398115"/>
                </a:cubicBezTo>
                <a:lnTo>
                  <a:pt x="973392" y="398115"/>
                </a:lnTo>
                <a:cubicBezTo>
                  <a:pt x="952159" y="311857"/>
                  <a:pt x="909694" y="236879"/>
                  <a:pt x="845995" y="173180"/>
                </a:cubicBezTo>
                <a:cubicBezTo>
                  <a:pt x="782297" y="109482"/>
                  <a:pt x="707318" y="67016"/>
                  <a:pt x="621060" y="45783"/>
                </a:cubicBezTo>
                <a:close/>
                <a:moveTo>
                  <a:pt x="398115" y="45783"/>
                </a:moveTo>
                <a:cubicBezTo>
                  <a:pt x="311857" y="67016"/>
                  <a:pt x="236879" y="109482"/>
                  <a:pt x="173180" y="173180"/>
                </a:cubicBezTo>
                <a:cubicBezTo>
                  <a:pt x="109482" y="236879"/>
                  <a:pt x="67016" y="311857"/>
                  <a:pt x="45784" y="398115"/>
                </a:cubicBezTo>
                <a:lnTo>
                  <a:pt x="280672" y="398115"/>
                </a:lnTo>
                <a:cubicBezTo>
                  <a:pt x="307212" y="346360"/>
                  <a:pt x="346360" y="307212"/>
                  <a:pt x="398115" y="280671"/>
                </a:cubicBezTo>
                <a:close/>
                <a:moveTo>
                  <a:pt x="509588" y="31849"/>
                </a:moveTo>
                <a:cubicBezTo>
                  <a:pt x="481720" y="31849"/>
                  <a:pt x="455179" y="33840"/>
                  <a:pt x="429965" y="37821"/>
                </a:cubicBezTo>
                <a:lnTo>
                  <a:pt x="429965" y="266737"/>
                </a:lnTo>
                <a:cubicBezTo>
                  <a:pt x="456506" y="258775"/>
                  <a:pt x="483047" y="254794"/>
                  <a:pt x="509588" y="254794"/>
                </a:cubicBezTo>
                <a:cubicBezTo>
                  <a:pt x="537456" y="254794"/>
                  <a:pt x="563997" y="258775"/>
                  <a:pt x="589211" y="266737"/>
                </a:cubicBezTo>
                <a:lnTo>
                  <a:pt x="589211" y="37821"/>
                </a:lnTo>
                <a:cubicBezTo>
                  <a:pt x="562670" y="33840"/>
                  <a:pt x="536129" y="31849"/>
                  <a:pt x="509588" y="31849"/>
                </a:cubicBezTo>
                <a:close/>
                <a:moveTo>
                  <a:pt x="509588" y="0"/>
                </a:moveTo>
                <a:cubicBezTo>
                  <a:pt x="650255" y="0"/>
                  <a:pt x="770353" y="49765"/>
                  <a:pt x="869882" y="149293"/>
                </a:cubicBezTo>
                <a:cubicBezTo>
                  <a:pt x="969411" y="248822"/>
                  <a:pt x="1019175" y="368920"/>
                  <a:pt x="1019175" y="509588"/>
                </a:cubicBezTo>
                <a:cubicBezTo>
                  <a:pt x="1019175" y="650255"/>
                  <a:pt x="969411" y="770353"/>
                  <a:pt x="869882" y="869882"/>
                </a:cubicBezTo>
                <a:cubicBezTo>
                  <a:pt x="770353" y="969411"/>
                  <a:pt x="650255" y="1019175"/>
                  <a:pt x="509588" y="1019175"/>
                </a:cubicBezTo>
                <a:cubicBezTo>
                  <a:pt x="368920" y="1019175"/>
                  <a:pt x="248822" y="969411"/>
                  <a:pt x="149293" y="869882"/>
                </a:cubicBezTo>
                <a:cubicBezTo>
                  <a:pt x="49765" y="770353"/>
                  <a:pt x="0" y="650255"/>
                  <a:pt x="0" y="509588"/>
                </a:cubicBezTo>
                <a:cubicBezTo>
                  <a:pt x="0" y="368920"/>
                  <a:pt x="49765" y="248822"/>
                  <a:pt x="149293" y="149293"/>
                </a:cubicBezTo>
                <a:cubicBezTo>
                  <a:pt x="248822" y="49765"/>
                  <a:pt x="368920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Freeform 67"/>
          <p:cNvSpPr/>
          <p:nvPr/>
        </p:nvSpPr>
        <p:spPr>
          <a:xfrm>
            <a:off x="4712923" y="3802732"/>
            <a:ext cx="417017" cy="458006"/>
          </a:xfrm>
          <a:custGeom>
            <a:avLst/>
            <a:gdLst/>
            <a:ahLst/>
            <a:cxnLst/>
            <a:rect l="l" t="t" r="r" b="b"/>
            <a:pathLst>
              <a:path w="931589" h="1023156">
                <a:moveTo>
                  <a:pt x="376219" y="489682"/>
                </a:moveTo>
                <a:lnTo>
                  <a:pt x="286643" y="720589"/>
                </a:lnTo>
                <a:lnTo>
                  <a:pt x="517550" y="631013"/>
                </a:lnTo>
                <a:close/>
                <a:moveTo>
                  <a:pt x="642956" y="364276"/>
                </a:moveTo>
                <a:lnTo>
                  <a:pt x="398115" y="467786"/>
                </a:lnTo>
                <a:lnTo>
                  <a:pt x="539446" y="609116"/>
                </a:lnTo>
                <a:close/>
                <a:moveTo>
                  <a:pt x="666843" y="320483"/>
                </a:moveTo>
                <a:lnTo>
                  <a:pt x="686748" y="340389"/>
                </a:lnTo>
                <a:lnTo>
                  <a:pt x="559352" y="642956"/>
                </a:lnTo>
                <a:lnTo>
                  <a:pt x="551389" y="650919"/>
                </a:lnTo>
                <a:lnTo>
                  <a:pt x="264746" y="762391"/>
                </a:lnTo>
                <a:lnTo>
                  <a:pt x="244841" y="742485"/>
                </a:lnTo>
                <a:lnTo>
                  <a:pt x="356313" y="455842"/>
                </a:lnTo>
                <a:lnTo>
                  <a:pt x="364275" y="447880"/>
                </a:lnTo>
                <a:close/>
                <a:moveTo>
                  <a:pt x="449870" y="123416"/>
                </a:moveTo>
                <a:cubicBezTo>
                  <a:pt x="334416" y="127397"/>
                  <a:pt x="237542" y="169863"/>
                  <a:pt x="159246" y="250813"/>
                </a:cubicBezTo>
                <a:cubicBezTo>
                  <a:pt x="78296" y="329109"/>
                  <a:pt x="35830" y="425983"/>
                  <a:pt x="31849" y="541437"/>
                </a:cubicBezTo>
                <a:lnTo>
                  <a:pt x="99528" y="541437"/>
                </a:lnTo>
                <a:lnTo>
                  <a:pt x="99528" y="573286"/>
                </a:lnTo>
                <a:lnTo>
                  <a:pt x="31849" y="573286"/>
                </a:lnTo>
                <a:cubicBezTo>
                  <a:pt x="35830" y="688740"/>
                  <a:pt x="78296" y="785614"/>
                  <a:pt x="159246" y="863910"/>
                </a:cubicBezTo>
                <a:cubicBezTo>
                  <a:pt x="237542" y="944860"/>
                  <a:pt x="334416" y="987326"/>
                  <a:pt x="449870" y="991307"/>
                </a:cubicBezTo>
                <a:lnTo>
                  <a:pt x="449870" y="923627"/>
                </a:lnTo>
                <a:lnTo>
                  <a:pt x="481719" y="923627"/>
                </a:lnTo>
                <a:lnTo>
                  <a:pt x="481719" y="991307"/>
                </a:lnTo>
                <a:cubicBezTo>
                  <a:pt x="597173" y="987326"/>
                  <a:pt x="694047" y="944860"/>
                  <a:pt x="772343" y="863910"/>
                </a:cubicBezTo>
                <a:cubicBezTo>
                  <a:pt x="853293" y="785614"/>
                  <a:pt x="895759" y="688740"/>
                  <a:pt x="899740" y="573286"/>
                </a:cubicBezTo>
                <a:lnTo>
                  <a:pt x="832061" y="573286"/>
                </a:lnTo>
                <a:lnTo>
                  <a:pt x="832061" y="541437"/>
                </a:lnTo>
                <a:lnTo>
                  <a:pt x="899740" y="541437"/>
                </a:lnTo>
                <a:cubicBezTo>
                  <a:pt x="895759" y="425983"/>
                  <a:pt x="853293" y="329109"/>
                  <a:pt x="772343" y="250813"/>
                </a:cubicBezTo>
                <a:cubicBezTo>
                  <a:pt x="694047" y="169863"/>
                  <a:pt x="597173" y="127397"/>
                  <a:pt x="481719" y="123416"/>
                </a:cubicBezTo>
                <a:lnTo>
                  <a:pt x="481719" y="191095"/>
                </a:lnTo>
                <a:lnTo>
                  <a:pt x="449870" y="191095"/>
                </a:lnTo>
                <a:close/>
                <a:moveTo>
                  <a:pt x="465794" y="31849"/>
                </a:moveTo>
                <a:cubicBezTo>
                  <a:pt x="447216" y="31849"/>
                  <a:pt x="431955" y="37821"/>
                  <a:pt x="420011" y="49765"/>
                </a:cubicBezTo>
                <a:cubicBezTo>
                  <a:pt x="408068" y="61708"/>
                  <a:pt x="402096" y="76969"/>
                  <a:pt x="402096" y="95548"/>
                </a:cubicBezTo>
                <a:cubicBezTo>
                  <a:pt x="416694" y="92894"/>
                  <a:pt x="437926" y="91567"/>
                  <a:pt x="465794" y="91567"/>
                </a:cubicBezTo>
                <a:cubicBezTo>
                  <a:pt x="493663" y="91567"/>
                  <a:pt x="514895" y="92894"/>
                  <a:pt x="529493" y="95548"/>
                </a:cubicBezTo>
                <a:cubicBezTo>
                  <a:pt x="529493" y="76969"/>
                  <a:pt x="523521" y="61708"/>
                  <a:pt x="511578" y="49765"/>
                </a:cubicBezTo>
                <a:cubicBezTo>
                  <a:pt x="499634" y="37821"/>
                  <a:pt x="484373" y="31849"/>
                  <a:pt x="465794" y="31849"/>
                </a:cubicBezTo>
                <a:close/>
                <a:moveTo>
                  <a:pt x="465794" y="0"/>
                </a:moveTo>
                <a:cubicBezTo>
                  <a:pt x="492336" y="0"/>
                  <a:pt x="514895" y="9289"/>
                  <a:pt x="533474" y="27868"/>
                </a:cubicBezTo>
                <a:cubicBezTo>
                  <a:pt x="552053" y="46447"/>
                  <a:pt x="561342" y="69007"/>
                  <a:pt x="561342" y="95548"/>
                </a:cubicBezTo>
                <a:lnTo>
                  <a:pt x="561342" y="101520"/>
                </a:lnTo>
                <a:cubicBezTo>
                  <a:pt x="650255" y="120098"/>
                  <a:pt x="728551" y="161900"/>
                  <a:pt x="796230" y="226926"/>
                </a:cubicBezTo>
                <a:cubicBezTo>
                  <a:pt x="886470" y="319819"/>
                  <a:pt x="931589" y="429965"/>
                  <a:pt x="931589" y="557361"/>
                </a:cubicBezTo>
                <a:cubicBezTo>
                  <a:pt x="931589" y="684758"/>
                  <a:pt x="886470" y="794904"/>
                  <a:pt x="796230" y="887797"/>
                </a:cubicBezTo>
                <a:cubicBezTo>
                  <a:pt x="703337" y="978037"/>
                  <a:pt x="593191" y="1023156"/>
                  <a:pt x="465794" y="1023156"/>
                </a:cubicBezTo>
                <a:cubicBezTo>
                  <a:pt x="338398" y="1023156"/>
                  <a:pt x="228252" y="978037"/>
                  <a:pt x="135359" y="887797"/>
                </a:cubicBezTo>
                <a:cubicBezTo>
                  <a:pt x="45119" y="794904"/>
                  <a:pt x="0" y="684758"/>
                  <a:pt x="0" y="557361"/>
                </a:cubicBezTo>
                <a:cubicBezTo>
                  <a:pt x="0" y="429965"/>
                  <a:pt x="45119" y="319819"/>
                  <a:pt x="135359" y="226926"/>
                </a:cubicBezTo>
                <a:cubicBezTo>
                  <a:pt x="203038" y="161900"/>
                  <a:pt x="281334" y="120098"/>
                  <a:pt x="370247" y="101520"/>
                </a:cubicBezTo>
                <a:lnTo>
                  <a:pt x="370247" y="95548"/>
                </a:lnTo>
                <a:cubicBezTo>
                  <a:pt x="370247" y="69007"/>
                  <a:pt x="379536" y="46447"/>
                  <a:pt x="398115" y="27868"/>
                </a:cubicBezTo>
                <a:cubicBezTo>
                  <a:pt x="416694" y="9289"/>
                  <a:pt x="439254" y="0"/>
                  <a:pt x="4657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68"/>
          <p:cNvSpPr/>
          <p:nvPr/>
        </p:nvSpPr>
        <p:spPr>
          <a:xfrm>
            <a:off x="4675904" y="4880904"/>
            <a:ext cx="519329" cy="446299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64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46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Placeholder 28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6" name="Rectangle 35"/>
          <p:cNvSpPr/>
          <p:nvPr/>
        </p:nvSpPr>
        <p:spPr>
          <a:xfrm>
            <a:off x="4813310" y="-8548"/>
            <a:ext cx="7378690" cy="686654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300038" y="1093258"/>
            <a:ext cx="3639463" cy="3209572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20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Lorem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ipsum dolor sit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20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endParaRPr lang="en-US" sz="20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38138" y="964555"/>
            <a:ext cx="72778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15"/>
          <p:cNvSpPr txBox="1">
            <a:spLocks/>
          </p:cNvSpPr>
          <p:nvPr/>
        </p:nvSpPr>
        <p:spPr>
          <a:xfrm>
            <a:off x="300038" y="260350"/>
            <a:ext cx="316565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smtClean="0"/>
              <a:t>Gant chart</a:t>
            </a:r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3352800" y="5382620"/>
            <a:ext cx="1232896" cy="1076212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58"/>
          <p:cNvSpPr/>
          <p:nvPr/>
        </p:nvSpPr>
        <p:spPr>
          <a:xfrm flipH="1">
            <a:off x="4947930" y="5382620"/>
            <a:ext cx="1802825" cy="1076212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4813492" y="1093259"/>
            <a:ext cx="7067182" cy="3625498"/>
            <a:chOff x="4813492" y="1093259"/>
            <a:chExt cx="7067182" cy="3625498"/>
          </a:xfrm>
        </p:grpSpPr>
        <p:cxnSp>
          <p:nvCxnSpPr>
            <p:cNvPr id="48" name="Straight Connector 47"/>
            <p:cNvCxnSpPr/>
            <p:nvPr/>
          </p:nvCxnSpPr>
          <p:spPr>
            <a:xfrm>
              <a:off x="5803339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>
            <a:xfrm>
              <a:off x="6786724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>
            <a:xfrm>
              <a:off x="7770110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>
            <a:xfrm>
              <a:off x="8753497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>
            <a:xfrm>
              <a:off x="9736883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>
            <a:xfrm>
              <a:off x="10720268" y="1093259"/>
              <a:ext cx="0" cy="3625498"/>
            </a:xfrm>
            <a:prstGeom prst="line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sp>
          <p:nvSpPr>
            <p:cNvPr id="55" name="Rectangle 54"/>
            <p:cNvSpPr/>
            <p:nvPr/>
          </p:nvSpPr>
          <p:spPr>
            <a:xfrm>
              <a:off x="5107083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078397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049711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8021026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8992340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9963654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10934969" y="1093259"/>
              <a:ext cx="450585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pl-PL" sz="1200" i="1" dirty="0">
                  <a:latin typeface="+mj-lt"/>
                </a:rPr>
                <a:t>&lt;</a:t>
              </a:r>
              <a:r>
                <a:rPr lang="pl-PL" sz="1200" i="1" dirty="0" err="1">
                  <a:latin typeface="+mj-lt"/>
                </a:rPr>
                <a:t>date</a:t>
              </a:r>
              <a:r>
                <a:rPr lang="pl-PL" sz="1200" i="1" dirty="0">
                  <a:latin typeface="+mj-lt"/>
                </a:rPr>
                <a:t>&gt;</a:t>
              </a:r>
            </a:p>
          </p:txBody>
        </p:sp>
        <p:sp>
          <p:nvSpPr>
            <p:cNvPr id="64" name="Pentagon 63"/>
            <p:cNvSpPr/>
            <p:nvPr/>
          </p:nvSpPr>
          <p:spPr>
            <a:xfrm>
              <a:off x="4813492" y="1799780"/>
              <a:ext cx="2608160" cy="313622"/>
            </a:xfrm>
            <a:prstGeom prst="homePlate">
              <a:avLst/>
            </a:prstGeom>
            <a:pattFill prst="wdDnDiag">
              <a:fgClr>
                <a:schemeClr val="accent1"/>
              </a:fgClr>
              <a:bgClr>
                <a:schemeClr val="accent1">
                  <a:lumMod val="40000"/>
                  <a:lumOff val="60000"/>
                </a:schemeClr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876884" y="1892218"/>
              <a:ext cx="36708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100" i="1" kern="0" dirty="0" smtClean="0">
                  <a:latin typeface="+mj-lt"/>
                </a:rPr>
                <a:t>START</a:t>
              </a:r>
              <a:endParaRPr kumimoji="0" lang="pl-PL" sz="1100" b="0" i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7" name="Pentagon 66"/>
            <p:cNvSpPr/>
            <p:nvPr/>
          </p:nvSpPr>
          <p:spPr>
            <a:xfrm>
              <a:off x="5810951" y="2534499"/>
              <a:ext cx="2300795" cy="313622"/>
            </a:xfrm>
            <a:prstGeom prst="homePlate">
              <a:avLst/>
            </a:prstGeom>
            <a:pattFill prst="wdDnDiag">
              <a:fgClr>
                <a:schemeClr val="accent1"/>
              </a:fgClr>
              <a:bgClr>
                <a:schemeClr val="accent1">
                  <a:lumMod val="40000"/>
                  <a:lumOff val="60000"/>
                </a:schemeClr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5852420" y="2612462"/>
              <a:ext cx="51135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100" b="0" i="1" u="none" strike="noStrike" kern="0" cap="none" spc="0" normalizeH="0" baseline="0" noProof="0" dirty="0" err="1" smtClean="0">
                  <a:ln>
                    <a:noFill/>
                  </a:ln>
                  <a:effectLst/>
                  <a:uLnTx/>
                  <a:uFillTx/>
                  <a:latin typeface="+mj-lt"/>
                </a:rPr>
                <a:t>Phase</a:t>
              </a:r>
              <a:r>
                <a:rPr kumimoji="0" lang="pl-PL" sz="1100" b="0" i="1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lt"/>
                </a:rPr>
                <a:t> 02</a:t>
              </a:r>
              <a:endParaRPr kumimoji="0" lang="en-US" sz="1100" b="0" i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0" name="Pentagon 69"/>
            <p:cNvSpPr/>
            <p:nvPr/>
          </p:nvSpPr>
          <p:spPr>
            <a:xfrm>
              <a:off x="8100457" y="3269218"/>
              <a:ext cx="2734124" cy="313622"/>
            </a:xfrm>
            <a:prstGeom prst="homePlate">
              <a:avLst/>
            </a:prstGeom>
            <a:pattFill prst="wdDnDiag">
              <a:fgClr>
                <a:schemeClr val="accent1"/>
              </a:fgClr>
              <a:bgClr>
                <a:schemeClr val="accent1">
                  <a:lumMod val="40000"/>
                  <a:lumOff val="60000"/>
                </a:schemeClr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8167240" y="3336492"/>
              <a:ext cx="511358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pl-PL" sz="1100" i="1" kern="0" dirty="0" err="1" smtClean="0">
                  <a:latin typeface="+mj-lt"/>
                </a:rPr>
                <a:t>Phase</a:t>
              </a:r>
              <a:r>
                <a:rPr lang="pl-PL" sz="1100" i="1" kern="0" dirty="0" smtClean="0">
                  <a:latin typeface="+mj-lt"/>
                </a:rPr>
                <a:t> 03</a:t>
              </a:r>
              <a:endParaRPr kumimoji="0" lang="en-US" sz="1100" b="0" i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5" name="Pentagon 74"/>
            <p:cNvSpPr/>
            <p:nvPr/>
          </p:nvSpPr>
          <p:spPr>
            <a:xfrm>
              <a:off x="10734364" y="4003937"/>
              <a:ext cx="1146310" cy="313622"/>
            </a:xfrm>
            <a:prstGeom prst="homePlat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10785101" y="4072448"/>
              <a:ext cx="941129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lt"/>
                </a:rPr>
                <a:t>Implementation</a:t>
              </a:r>
            </a:p>
          </p:txBody>
        </p:sp>
      </p:grpSp>
      <p:sp>
        <p:nvSpPr>
          <p:cNvPr id="77" name="Content Placeholder 15"/>
          <p:cNvSpPr txBox="1">
            <a:spLocks/>
          </p:cNvSpPr>
          <p:nvPr/>
        </p:nvSpPr>
        <p:spPr>
          <a:xfrm>
            <a:off x="4934806" y="5607616"/>
            <a:ext cx="17369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 smtClean="0"/>
              <a:t>planer</a:t>
            </a:r>
            <a:endParaRPr lang="en-US" dirty="0"/>
          </a:p>
        </p:txBody>
      </p:sp>
      <p:sp>
        <p:nvSpPr>
          <p:cNvPr id="78" name="Content Placeholder 15"/>
          <p:cNvSpPr txBox="1">
            <a:spLocks/>
          </p:cNvSpPr>
          <p:nvPr/>
        </p:nvSpPr>
        <p:spPr>
          <a:xfrm>
            <a:off x="3121538" y="5607616"/>
            <a:ext cx="14641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dirty="0" err="1" smtClean="0"/>
              <a:t>ti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22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642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 51"/>
          <p:cNvSpPr/>
          <p:nvPr/>
        </p:nvSpPr>
        <p:spPr>
          <a:xfrm>
            <a:off x="9320486" y="1444978"/>
            <a:ext cx="1264355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 flipV="1">
            <a:off x="7087488" y="3714046"/>
            <a:ext cx="1264355" cy="1478845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906619" y="1444978"/>
            <a:ext cx="1226586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5294489" y="3578578"/>
            <a:ext cx="6897511" cy="0"/>
          </a:xfrm>
          <a:prstGeom prst="line">
            <a:avLst/>
          </a:prstGeom>
          <a:ln w="539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4063998" y="2844799"/>
            <a:ext cx="1467558" cy="1467558"/>
          </a:xfrm>
          <a:prstGeom prst="ellipse">
            <a:avLst/>
          </a:prstGeom>
          <a:ln w="635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pl-PL" sz="36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start</a:t>
            </a:r>
          </a:p>
          <a:p>
            <a:pPr algn="ctr"/>
            <a:r>
              <a:rPr lang="pl-PL" sz="2000" dirty="0" smtClean="0">
                <a:solidFill>
                  <a:schemeClr val="tx1"/>
                </a:solidFill>
              </a:rPr>
              <a:t>2016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 smtClean="0"/>
              <a:t>infographics</a:t>
            </a:r>
            <a:endParaRPr lang="en-US" dirty="0"/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5980788" y="3436441"/>
            <a:ext cx="318141" cy="3181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7091167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8201546" y="3419507"/>
            <a:ext cx="318141" cy="3181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 rot="17136539">
            <a:off x="5698932" y="3958342"/>
            <a:ext cx="588303" cy="2891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January</a:t>
            </a:r>
            <a:endParaRPr lang="en-US" sz="14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 rot="17136539">
            <a:off x="6750558" y="3965095"/>
            <a:ext cx="647613" cy="3231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February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 rot="17061802">
            <a:off x="7924993" y="3901788"/>
            <a:ext cx="447238" cy="2891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March</a:t>
            </a:r>
            <a:endParaRPr lang="en-US" sz="14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 rot="17136539">
            <a:off x="9081042" y="3884765"/>
            <a:ext cx="447238" cy="3231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prilis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 rot="17136539">
            <a:off x="10284423" y="3840095"/>
            <a:ext cx="293350" cy="2891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May</a:t>
            </a:r>
            <a:endParaRPr lang="en-US" sz="14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 rot="17136539">
            <a:off x="11377996" y="3849420"/>
            <a:ext cx="359073" cy="3231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June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42" name="Content Placeholder 15"/>
          <p:cNvSpPr txBox="1">
            <a:spLocks/>
          </p:cNvSpPr>
          <p:nvPr/>
        </p:nvSpPr>
        <p:spPr>
          <a:xfrm>
            <a:off x="3984011" y="1329562"/>
            <a:ext cx="91404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500" b="1" cap="all" dirty="0" err="1" smtClean="0">
                <a:latin typeface="Source Sans Pro Black" panose="020B0803030403020204" pitchFamily="34" charset="-18"/>
              </a:rPr>
              <a:t>Phase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 01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4" name="Content Placeholder 15"/>
          <p:cNvSpPr txBox="1">
            <a:spLocks/>
          </p:cNvSpPr>
          <p:nvPr/>
        </p:nvSpPr>
        <p:spPr>
          <a:xfrm>
            <a:off x="3984011" y="1594261"/>
            <a:ext cx="1795831" cy="8018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accent4"/>
                </a:solidFill>
              </a:rPr>
              <a:t>Morbi</a:t>
            </a:r>
            <a:r>
              <a:rPr lang="en-US" sz="1200" dirty="0">
                <a:solidFill>
                  <a:schemeClr val="accent4"/>
                </a:solidFill>
              </a:rPr>
              <a:t> libero </a:t>
            </a:r>
            <a:r>
              <a:rPr lang="en-US" sz="1200" dirty="0" err="1">
                <a:solidFill>
                  <a:schemeClr val="accent4"/>
                </a:solidFill>
              </a:rPr>
              <a:t>sapien</a:t>
            </a:r>
            <a:r>
              <a:rPr lang="en-US" sz="1200" dirty="0">
                <a:solidFill>
                  <a:schemeClr val="accent4"/>
                </a:solidFill>
              </a:rPr>
              <a:t>, cursus </a:t>
            </a:r>
            <a:r>
              <a:rPr lang="en-US" sz="1200" dirty="0" err="1">
                <a:solidFill>
                  <a:schemeClr val="accent4"/>
                </a:solidFill>
              </a:rPr>
              <a:t>eget</a:t>
            </a:r>
            <a:r>
              <a:rPr lang="en-US" sz="1200" dirty="0">
                <a:solidFill>
                  <a:schemeClr val="accent4"/>
                </a:solidFill>
              </a:rPr>
              <a:t> lorem at, convallis </a:t>
            </a:r>
            <a:r>
              <a:rPr lang="en-US" sz="1200" dirty="0" err="1">
                <a:solidFill>
                  <a:schemeClr val="accent4"/>
                </a:solidFill>
              </a:rPr>
              <a:t>hendrerit</a:t>
            </a:r>
            <a:r>
              <a:rPr lang="en-US" sz="1200" dirty="0">
                <a:solidFill>
                  <a:schemeClr val="accent4"/>
                </a:solidFill>
              </a:rPr>
              <a:t> </a:t>
            </a:r>
            <a:r>
              <a:rPr lang="en-US" sz="1200" dirty="0" err="1">
                <a:solidFill>
                  <a:schemeClr val="accent4"/>
                </a:solidFill>
              </a:rPr>
              <a:t>tortor</a:t>
            </a:r>
            <a:r>
              <a:rPr lang="en-US" sz="1200" dirty="0">
                <a:solidFill>
                  <a:schemeClr val="accent4"/>
                </a:solidFill>
              </a:rPr>
              <a:t>.</a:t>
            </a:r>
            <a:endParaRPr lang="en-US" sz="1200" b="1" i="1" dirty="0">
              <a:solidFill>
                <a:schemeClr val="accent4"/>
              </a:solidFill>
            </a:endParaRPr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6212054" y="5092444"/>
            <a:ext cx="91404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500" b="1" cap="all" dirty="0" err="1" smtClean="0">
                <a:latin typeface="Source Sans Pro Black" panose="020B0803030403020204" pitchFamily="34" charset="-18"/>
              </a:rPr>
              <a:t>Phase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02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6212054" y="5357143"/>
            <a:ext cx="179583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accent4"/>
                </a:solidFill>
              </a:rPr>
              <a:t>Morbi</a:t>
            </a:r>
            <a:r>
              <a:rPr lang="en-US" sz="1200" dirty="0">
                <a:solidFill>
                  <a:schemeClr val="accent4"/>
                </a:solidFill>
              </a:rPr>
              <a:t> libero </a:t>
            </a:r>
            <a:r>
              <a:rPr lang="en-US" sz="1200" dirty="0" err="1">
                <a:solidFill>
                  <a:schemeClr val="accent4"/>
                </a:solidFill>
              </a:rPr>
              <a:t>sapien</a:t>
            </a:r>
            <a:r>
              <a:rPr lang="en-US" sz="1200" dirty="0">
                <a:solidFill>
                  <a:schemeClr val="accent4"/>
                </a:solidFill>
              </a:rPr>
              <a:t>, cursus </a:t>
            </a:r>
            <a:r>
              <a:rPr lang="en-US" sz="1200" dirty="0" err="1">
                <a:solidFill>
                  <a:schemeClr val="accent4"/>
                </a:solidFill>
              </a:rPr>
              <a:t>eget</a:t>
            </a:r>
            <a:r>
              <a:rPr lang="en-US" sz="1200" dirty="0">
                <a:solidFill>
                  <a:schemeClr val="accent4"/>
                </a:solidFill>
              </a:rPr>
              <a:t> lorem at, convallis </a:t>
            </a:r>
            <a:r>
              <a:rPr lang="en-US" sz="1200" dirty="0" err="1">
                <a:solidFill>
                  <a:schemeClr val="accent4"/>
                </a:solidFill>
              </a:rPr>
              <a:t>hendrerit</a:t>
            </a:r>
            <a:r>
              <a:rPr lang="en-US" sz="1200" dirty="0">
                <a:solidFill>
                  <a:schemeClr val="accent4"/>
                </a:solidFill>
              </a:rPr>
              <a:t> </a:t>
            </a:r>
            <a:r>
              <a:rPr lang="en-US" sz="1200" dirty="0" err="1">
                <a:solidFill>
                  <a:schemeClr val="accent4"/>
                </a:solidFill>
              </a:rPr>
              <a:t>tortor</a:t>
            </a:r>
            <a:r>
              <a:rPr lang="en-US" sz="1200" dirty="0">
                <a:solidFill>
                  <a:schemeClr val="accent4"/>
                </a:solidFill>
              </a:rPr>
              <a:t>.</a:t>
            </a:r>
            <a:endParaRPr lang="en-US" sz="1200" b="1" i="1" dirty="0">
              <a:solidFill>
                <a:schemeClr val="accent4"/>
              </a:solidFill>
            </a:endParaRPr>
          </a:p>
        </p:txBody>
      </p:sp>
      <p:sp>
        <p:nvSpPr>
          <p:cNvPr id="53" name="Content Placeholder 15"/>
          <p:cNvSpPr txBox="1">
            <a:spLocks/>
          </p:cNvSpPr>
          <p:nvPr/>
        </p:nvSpPr>
        <p:spPr>
          <a:xfrm>
            <a:off x="8401780" y="1329562"/>
            <a:ext cx="91404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500" b="1" cap="all" dirty="0" err="1" smtClean="0">
                <a:latin typeface="Source Sans Pro Black" panose="020B0803030403020204" pitchFamily="34" charset="-18"/>
              </a:rPr>
              <a:t>Phase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03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54" name="Content Placeholder 15"/>
          <p:cNvSpPr txBox="1">
            <a:spLocks/>
          </p:cNvSpPr>
          <p:nvPr/>
        </p:nvSpPr>
        <p:spPr>
          <a:xfrm>
            <a:off x="8401780" y="1594261"/>
            <a:ext cx="1795831" cy="8018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accent4"/>
                </a:solidFill>
              </a:rPr>
              <a:t>Morbi</a:t>
            </a:r>
            <a:r>
              <a:rPr lang="en-US" sz="1200" dirty="0">
                <a:solidFill>
                  <a:schemeClr val="accent4"/>
                </a:solidFill>
              </a:rPr>
              <a:t> libero </a:t>
            </a:r>
            <a:r>
              <a:rPr lang="en-US" sz="1200" dirty="0" err="1">
                <a:solidFill>
                  <a:schemeClr val="accent4"/>
                </a:solidFill>
              </a:rPr>
              <a:t>sapien</a:t>
            </a:r>
            <a:r>
              <a:rPr lang="en-US" sz="1200" dirty="0">
                <a:solidFill>
                  <a:schemeClr val="accent4"/>
                </a:solidFill>
              </a:rPr>
              <a:t>, cursus </a:t>
            </a:r>
            <a:r>
              <a:rPr lang="en-US" sz="1200" dirty="0" err="1">
                <a:solidFill>
                  <a:schemeClr val="accent4"/>
                </a:solidFill>
              </a:rPr>
              <a:t>eget</a:t>
            </a:r>
            <a:r>
              <a:rPr lang="en-US" sz="1200" dirty="0">
                <a:solidFill>
                  <a:schemeClr val="accent4"/>
                </a:solidFill>
              </a:rPr>
              <a:t> lorem at, convallis </a:t>
            </a:r>
            <a:r>
              <a:rPr lang="en-US" sz="1200" dirty="0" err="1">
                <a:solidFill>
                  <a:schemeClr val="accent4"/>
                </a:solidFill>
              </a:rPr>
              <a:t>hendrerit</a:t>
            </a:r>
            <a:r>
              <a:rPr lang="en-US" sz="1200" dirty="0">
                <a:solidFill>
                  <a:schemeClr val="accent4"/>
                </a:solidFill>
              </a:rPr>
              <a:t> </a:t>
            </a:r>
            <a:r>
              <a:rPr lang="en-US" sz="1200" dirty="0" err="1">
                <a:solidFill>
                  <a:schemeClr val="accent4"/>
                </a:solidFill>
              </a:rPr>
              <a:t>tortor</a:t>
            </a:r>
            <a:r>
              <a:rPr lang="en-US" sz="1200" dirty="0">
                <a:solidFill>
                  <a:schemeClr val="accent4"/>
                </a:solidFill>
              </a:rPr>
              <a:t>.</a:t>
            </a:r>
            <a:endParaRPr lang="en-US" sz="1200" b="1" i="1" dirty="0">
              <a:solidFill>
                <a:schemeClr val="accent4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11532684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/>
          <p:cNvSpPr/>
          <p:nvPr/>
        </p:nvSpPr>
        <p:spPr>
          <a:xfrm>
            <a:off x="10422304" y="3419507"/>
            <a:ext cx="318141" cy="3181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/>
          <p:cNvSpPr/>
          <p:nvPr/>
        </p:nvSpPr>
        <p:spPr>
          <a:xfrm>
            <a:off x="9311925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48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304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Straight Connector 19"/>
          <p:cNvCxnSpPr/>
          <p:nvPr/>
        </p:nvCxnSpPr>
        <p:spPr>
          <a:xfrm>
            <a:off x="0" y="3578578"/>
            <a:ext cx="6897511" cy="0"/>
          </a:xfrm>
          <a:prstGeom prst="line">
            <a:avLst/>
          </a:prstGeom>
          <a:ln w="539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621021" y="2607733"/>
            <a:ext cx="0" cy="97084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1464503" y="3436441"/>
            <a:ext cx="318141" cy="318141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576196" y="3419507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 rot="17000946">
            <a:off x="294981" y="3842023"/>
            <a:ext cx="298159" cy="2891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err="1">
                <a:solidFill>
                  <a:schemeClr val="bg1">
                    <a:lumMod val="75000"/>
                  </a:schemeClr>
                </a:solidFill>
                <a:latin typeface="Source Sans Pro Light" panose="020B0403030403020204" pitchFamily="34" charset="-18"/>
              </a:rPr>
              <a:t>July</a:t>
            </a:r>
            <a:endParaRPr lang="en-US" sz="1400" dirty="0">
              <a:solidFill>
                <a:schemeClr val="bg1">
                  <a:lumMod val="7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 rot="17000946">
            <a:off x="1288877" y="3905330"/>
            <a:ext cx="498534" cy="3231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b="1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August</a:t>
            </a:r>
            <a:endParaRPr lang="en-US" sz="1400" b="1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 rot="17000946">
            <a:off x="2182244" y="4038028"/>
            <a:ext cx="787075" cy="2891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pl-PL" sz="1400" dirty="0" err="1" smtClean="0">
                <a:solidFill>
                  <a:schemeClr val="bg1">
                    <a:lumMod val="75000"/>
                  </a:schemeClr>
                </a:solidFill>
                <a:latin typeface="Source Sans Pro Light" panose="020B0403030403020204" pitchFamily="34" charset="-18"/>
              </a:rPr>
              <a:t>september</a:t>
            </a:r>
            <a:endParaRPr lang="en-US" sz="1400" dirty="0">
              <a:solidFill>
                <a:schemeClr val="bg1">
                  <a:lumMod val="7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3869586" y="3622302"/>
            <a:ext cx="2122037" cy="3231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pl-PL" sz="1400" b="1" i="1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October</a:t>
            </a:r>
            <a:r>
              <a:rPr lang="pl-PL" sz="1400" b="1" i="1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- </a:t>
            </a:r>
            <a:r>
              <a:rPr lang="pl-PL" sz="1400" b="1" i="1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December</a:t>
            </a:r>
            <a:endParaRPr lang="en-US" sz="1400" b="1" i="1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1" name="Oval 20"/>
          <p:cNvSpPr/>
          <p:nvPr/>
        </p:nvSpPr>
        <p:spPr>
          <a:xfrm flipH="1">
            <a:off x="6660444" y="2844799"/>
            <a:ext cx="1467558" cy="1467558"/>
          </a:xfrm>
          <a:prstGeom prst="ellipse">
            <a:avLst/>
          </a:prstGeom>
          <a:ln w="635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pl-PL" sz="36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End</a:t>
            </a:r>
          </a:p>
          <a:p>
            <a:pPr algn="ctr"/>
            <a:r>
              <a:rPr lang="pl-PL" sz="2000" dirty="0" smtClean="0">
                <a:solidFill>
                  <a:srgbClr val="262626"/>
                </a:solidFill>
              </a:rPr>
              <a:t>2016</a:t>
            </a:r>
            <a:endParaRPr lang="pl-PL" sz="3600" dirty="0" smtClean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52810" y="3436441"/>
            <a:ext cx="318141" cy="318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Content Placeholder 15"/>
          <p:cNvSpPr txBox="1">
            <a:spLocks/>
          </p:cNvSpPr>
          <p:nvPr/>
        </p:nvSpPr>
        <p:spPr>
          <a:xfrm>
            <a:off x="1173483" y="2113577"/>
            <a:ext cx="914047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ummary</a:t>
            </a:r>
            <a:r>
              <a:rPr lang="pl-PL" sz="1500" b="1" cap="all" dirty="0">
                <a:latin typeface="Source Sans Pro Black" panose="020B0803030403020204" pitchFamily="34" charset="-18"/>
              </a:rPr>
              <a:t> Meeting 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833643" y="1509889"/>
            <a:ext cx="2230294" cy="4171244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IMPLEMENTATION</a:t>
            </a:r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833643" y="1509889"/>
            <a:ext cx="0" cy="417124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6063937" y="1509889"/>
            <a:ext cx="0" cy="417124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833643" y="3578578"/>
            <a:ext cx="2203136" cy="0"/>
          </a:xfrm>
          <a:prstGeom prst="line">
            <a:avLst/>
          </a:prstGeom>
          <a:ln w="53975">
            <a:solidFill>
              <a:schemeClr val="accent1">
                <a:alpha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1"/>
          <p:cNvSpPr txBox="1">
            <a:spLocks/>
          </p:cNvSpPr>
          <p:nvPr/>
        </p:nvSpPr>
        <p:spPr>
          <a:xfrm>
            <a:off x="8673141" y="4182587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32858379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172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4" name="Group 173"/>
          <p:cNvGrpSpPr/>
          <p:nvPr/>
        </p:nvGrpSpPr>
        <p:grpSpPr>
          <a:xfrm>
            <a:off x="4182902" y="2457828"/>
            <a:ext cx="353078" cy="2834478"/>
            <a:chOff x="2536748" y="2810253"/>
            <a:chExt cx="1654252" cy="2834478"/>
          </a:xfrm>
          <a:solidFill>
            <a:srgbClr val="000000">
              <a:alpha val="20000"/>
            </a:srgbClr>
          </a:solidFill>
        </p:grpSpPr>
        <p:sp>
          <p:nvSpPr>
            <p:cNvPr id="175" name="Rectangle 174"/>
            <p:cNvSpPr/>
            <p:nvPr/>
          </p:nvSpPr>
          <p:spPr>
            <a:xfrm>
              <a:off x="2536748" y="2810253"/>
              <a:ext cx="1654252" cy="7154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2536748" y="3516591"/>
              <a:ext cx="1654252" cy="7154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2536748" y="4222929"/>
              <a:ext cx="1654252" cy="7154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2536748" y="4929268"/>
              <a:ext cx="1654252" cy="7154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101" name="Group 100"/>
          <p:cNvGrpSpPr/>
          <p:nvPr/>
        </p:nvGrpSpPr>
        <p:grpSpPr>
          <a:xfrm>
            <a:off x="2536748" y="2457828"/>
            <a:ext cx="1654252" cy="2834478"/>
            <a:chOff x="2536748" y="2810253"/>
            <a:chExt cx="1654252" cy="2834478"/>
          </a:xfrm>
        </p:grpSpPr>
        <p:sp>
          <p:nvSpPr>
            <p:cNvPr id="95" name="Rectangle 94"/>
            <p:cNvSpPr/>
            <p:nvPr/>
          </p:nvSpPr>
          <p:spPr>
            <a:xfrm>
              <a:off x="2536748" y="2810253"/>
              <a:ext cx="1654252" cy="715463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tangle 95"/>
            <p:cNvSpPr/>
            <p:nvPr/>
          </p:nvSpPr>
          <p:spPr>
            <a:xfrm>
              <a:off x="2536748" y="3516591"/>
              <a:ext cx="1654252" cy="71546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/>
            <p:cNvSpPr/>
            <p:nvPr/>
          </p:nvSpPr>
          <p:spPr>
            <a:xfrm>
              <a:off x="2536748" y="4222929"/>
              <a:ext cx="1654252" cy="7154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2536748" y="4929268"/>
              <a:ext cx="1654252" cy="71546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2463266" y="1971675"/>
            <a:ext cx="1781988" cy="3703507"/>
            <a:chOff x="4688880" y="995380"/>
            <a:chExt cx="2560026" cy="5320503"/>
          </a:xfrm>
        </p:grpSpPr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4688880" y="995380"/>
              <a:ext cx="2560026" cy="5320503"/>
            </a:xfrm>
            <a:custGeom>
              <a:avLst/>
              <a:gdLst>
                <a:gd name="connsiteX0" fmla="*/ 159596 w 2560026"/>
                <a:gd name="connsiteY0" fmla="*/ 763677 h 5320503"/>
                <a:gd name="connsiteX1" fmla="*/ 159596 w 2560026"/>
                <a:gd name="connsiteY1" fmla="*/ 4657806 h 5320503"/>
                <a:gd name="connsiteX2" fmla="*/ 2406801 w 2560026"/>
                <a:gd name="connsiteY2" fmla="*/ 4657806 h 5320503"/>
                <a:gd name="connsiteX3" fmla="*/ 2406801 w 2560026"/>
                <a:gd name="connsiteY3" fmla="*/ 763677 h 5320503"/>
                <a:gd name="connsiteX4" fmla="*/ 236212 w 2560026"/>
                <a:gd name="connsiteY4" fmla="*/ 0 h 5320503"/>
                <a:gd name="connsiteX5" fmla="*/ 2330198 w 2560026"/>
                <a:gd name="connsiteY5" fmla="*/ 0 h 5320503"/>
                <a:gd name="connsiteX6" fmla="*/ 2560026 w 2560026"/>
                <a:gd name="connsiteY6" fmla="*/ 233522 h 5320503"/>
                <a:gd name="connsiteX7" fmla="*/ 2560026 w 2560026"/>
                <a:gd name="connsiteY7" fmla="*/ 5086982 h 5320503"/>
                <a:gd name="connsiteX8" fmla="*/ 2330198 w 2560026"/>
                <a:gd name="connsiteY8" fmla="*/ 5320503 h 5320503"/>
                <a:gd name="connsiteX9" fmla="*/ 236212 w 2560026"/>
                <a:gd name="connsiteY9" fmla="*/ 5320503 h 5320503"/>
                <a:gd name="connsiteX10" fmla="*/ 0 w 2560026"/>
                <a:gd name="connsiteY10" fmla="*/ 5086982 h 5320503"/>
                <a:gd name="connsiteX11" fmla="*/ 0 w 2560026"/>
                <a:gd name="connsiteY11" fmla="*/ 233522 h 5320503"/>
                <a:gd name="connsiteX12" fmla="*/ 236212 w 2560026"/>
                <a:gd name="connsiteY12" fmla="*/ 0 h 532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60026" h="5320503">
                  <a:moveTo>
                    <a:pt x="159596" y="763677"/>
                  </a:moveTo>
                  <a:lnTo>
                    <a:pt x="159596" y="4657806"/>
                  </a:lnTo>
                  <a:lnTo>
                    <a:pt x="2406801" y="4657806"/>
                  </a:lnTo>
                  <a:lnTo>
                    <a:pt x="2406801" y="763677"/>
                  </a:lnTo>
                  <a:close/>
                  <a:moveTo>
                    <a:pt x="236212" y="0"/>
                  </a:moveTo>
                  <a:cubicBezTo>
                    <a:pt x="2330198" y="0"/>
                    <a:pt x="2330198" y="0"/>
                    <a:pt x="2330198" y="0"/>
                  </a:cubicBezTo>
                  <a:cubicBezTo>
                    <a:pt x="2457880" y="0"/>
                    <a:pt x="2560026" y="100982"/>
                    <a:pt x="2560026" y="233522"/>
                  </a:cubicBezTo>
                  <a:cubicBezTo>
                    <a:pt x="2560026" y="5086982"/>
                    <a:pt x="2560026" y="5086982"/>
                    <a:pt x="2560026" y="5086982"/>
                  </a:cubicBezTo>
                  <a:cubicBezTo>
                    <a:pt x="2560026" y="5219521"/>
                    <a:pt x="2457880" y="5320503"/>
                    <a:pt x="2330198" y="5320503"/>
                  </a:cubicBezTo>
                  <a:lnTo>
                    <a:pt x="236212" y="5320503"/>
                  </a:lnTo>
                  <a:cubicBezTo>
                    <a:pt x="102146" y="5320503"/>
                    <a:pt x="0" y="5219521"/>
                    <a:pt x="0" y="5086982"/>
                  </a:cubicBezTo>
                  <a:cubicBezTo>
                    <a:pt x="0" y="233522"/>
                    <a:pt x="0" y="233522"/>
                    <a:pt x="0" y="233522"/>
                  </a:cubicBezTo>
                  <a:cubicBezTo>
                    <a:pt x="0" y="100982"/>
                    <a:pt x="102146" y="0"/>
                    <a:pt x="236212" y="0"/>
                  </a:cubicBez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 w="12700"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5" name="Oval 44"/>
            <p:cNvSpPr>
              <a:spLocks noChangeArrowheads="1"/>
            </p:cNvSpPr>
            <p:nvPr/>
          </p:nvSpPr>
          <p:spPr bwMode="auto">
            <a:xfrm>
              <a:off x="5933778" y="1222592"/>
              <a:ext cx="76609" cy="757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6" name="Oval 45"/>
            <p:cNvSpPr>
              <a:spLocks noChangeArrowheads="1"/>
            </p:cNvSpPr>
            <p:nvPr/>
          </p:nvSpPr>
          <p:spPr bwMode="auto">
            <a:xfrm>
              <a:off x="5959314" y="1247835"/>
              <a:ext cx="19156" cy="189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7" name="Oval 46"/>
            <p:cNvSpPr>
              <a:spLocks noChangeArrowheads="1"/>
            </p:cNvSpPr>
            <p:nvPr/>
          </p:nvSpPr>
          <p:spPr bwMode="auto">
            <a:xfrm>
              <a:off x="5933778" y="1216279"/>
              <a:ext cx="76609" cy="757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Oval 47"/>
            <p:cNvSpPr>
              <a:spLocks noChangeArrowheads="1"/>
            </p:cNvSpPr>
            <p:nvPr/>
          </p:nvSpPr>
          <p:spPr bwMode="auto">
            <a:xfrm>
              <a:off x="5959314" y="1241523"/>
              <a:ext cx="19156" cy="189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9" name="Oval 48"/>
            <p:cNvSpPr>
              <a:spLocks noChangeArrowheads="1"/>
            </p:cNvSpPr>
            <p:nvPr/>
          </p:nvSpPr>
          <p:spPr bwMode="auto">
            <a:xfrm>
              <a:off x="5946546" y="1228901"/>
              <a:ext cx="51072" cy="5049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Oval 49"/>
            <p:cNvSpPr>
              <a:spLocks noChangeArrowheads="1"/>
            </p:cNvSpPr>
            <p:nvPr/>
          </p:nvSpPr>
          <p:spPr bwMode="auto">
            <a:xfrm>
              <a:off x="5946546" y="1228901"/>
              <a:ext cx="51072" cy="5049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Oval 50"/>
            <p:cNvSpPr>
              <a:spLocks noChangeArrowheads="1"/>
            </p:cNvSpPr>
            <p:nvPr/>
          </p:nvSpPr>
          <p:spPr bwMode="auto">
            <a:xfrm>
              <a:off x="5959314" y="1241523"/>
              <a:ext cx="25535" cy="2524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Oval 51"/>
            <p:cNvSpPr>
              <a:spLocks noChangeArrowheads="1"/>
            </p:cNvSpPr>
            <p:nvPr/>
          </p:nvSpPr>
          <p:spPr bwMode="auto">
            <a:xfrm>
              <a:off x="5959314" y="1263417"/>
              <a:ext cx="25534" cy="25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5965699" y="1247837"/>
              <a:ext cx="6387" cy="63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5965699" y="1247837"/>
              <a:ext cx="6387" cy="63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Oval 54"/>
            <p:cNvSpPr>
              <a:spLocks noChangeArrowheads="1"/>
            </p:cNvSpPr>
            <p:nvPr/>
          </p:nvSpPr>
          <p:spPr bwMode="auto">
            <a:xfrm>
              <a:off x="5774652" y="5792504"/>
              <a:ext cx="388482" cy="384058"/>
            </a:xfrm>
            <a:prstGeom prst="ellipse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5777821" y="1415263"/>
              <a:ext cx="414968" cy="44183"/>
            </a:xfrm>
            <a:custGeom>
              <a:avLst/>
              <a:gdLst>
                <a:gd name="T0" fmla="*/ 65 w 65"/>
                <a:gd name="T1" fmla="*/ 4 h 7"/>
                <a:gd name="T2" fmla="*/ 61 w 65"/>
                <a:gd name="T3" fmla="*/ 7 h 7"/>
                <a:gd name="T4" fmla="*/ 4 w 65"/>
                <a:gd name="T5" fmla="*/ 7 h 7"/>
                <a:gd name="T6" fmla="*/ 0 w 65"/>
                <a:gd name="T7" fmla="*/ 4 h 7"/>
                <a:gd name="T8" fmla="*/ 4 w 65"/>
                <a:gd name="T9" fmla="*/ 0 h 7"/>
                <a:gd name="T10" fmla="*/ 61 w 65"/>
                <a:gd name="T11" fmla="*/ 0 h 7"/>
                <a:gd name="T12" fmla="*/ 65 w 65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">
                  <a:moveTo>
                    <a:pt x="65" y="4"/>
                  </a:moveTo>
                  <a:cubicBezTo>
                    <a:pt x="65" y="6"/>
                    <a:pt x="63" y="7"/>
                    <a:pt x="61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2"/>
                    <a:pt x="65" y="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4496995" y="2457828"/>
            <a:ext cx="106117" cy="2834478"/>
            <a:chOff x="2536748" y="2810253"/>
            <a:chExt cx="1654252" cy="2834478"/>
          </a:xfrm>
        </p:grpSpPr>
        <p:sp>
          <p:nvSpPr>
            <p:cNvPr id="133" name="Rectangle 132"/>
            <p:cNvSpPr/>
            <p:nvPr/>
          </p:nvSpPr>
          <p:spPr>
            <a:xfrm>
              <a:off x="2536748" y="2810253"/>
              <a:ext cx="1654252" cy="715463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2536748" y="3516591"/>
              <a:ext cx="1654252" cy="71546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2536748" y="4222929"/>
              <a:ext cx="1654252" cy="7154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2536748" y="4929268"/>
              <a:ext cx="1654252" cy="71546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4660262" y="3164166"/>
            <a:ext cx="7231701" cy="1421801"/>
            <a:chOff x="4417374" y="3516591"/>
            <a:chExt cx="7231701" cy="1421801"/>
          </a:xfrm>
        </p:grpSpPr>
        <p:cxnSp>
          <p:nvCxnSpPr>
            <p:cNvPr id="138" name="Straight Connector 137"/>
            <p:cNvCxnSpPr/>
            <p:nvPr/>
          </p:nvCxnSpPr>
          <p:spPr>
            <a:xfrm>
              <a:off x="4417374" y="3516591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/>
          </p:nvCxnSpPr>
          <p:spPr>
            <a:xfrm>
              <a:off x="4417374" y="4227492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>
              <a:off x="4417374" y="4938392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" name="Rectangle 142"/>
          <p:cNvSpPr/>
          <p:nvPr/>
        </p:nvSpPr>
        <p:spPr>
          <a:xfrm>
            <a:off x="4682733" y="2624050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cxnSp>
        <p:nvCxnSpPr>
          <p:cNvPr id="145" name="Straight Connector 144"/>
          <p:cNvCxnSpPr/>
          <p:nvPr/>
        </p:nvCxnSpPr>
        <p:spPr>
          <a:xfrm>
            <a:off x="4660262" y="2462390"/>
            <a:ext cx="72317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/>
        </p:nvCxnSpPr>
        <p:spPr>
          <a:xfrm>
            <a:off x="4660262" y="5292306"/>
            <a:ext cx="72317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/>
          <p:cNvSpPr/>
          <p:nvPr/>
        </p:nvSpPr>
        <p:spPr>
          <a:xfrm>
            <a:off x="3050480" y="2523171"/>
            <a:ext cx="627095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1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3050480" y="3219433"/>
            <a:ext cx="627095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bg1">
                    <a:lumMod val="75000"/>
                  </a:schemeClr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2</a:t>
            </a:r>
            <a:endParaRPr lang="en-US" sz="3200" dirty="0">
              <a:solidFill>
                <a:schemeClr val="bg1">
                  <a:lumMod val="75000"/>
                </a:schemeClr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3050480" y="3934745"/>
            <a:ext cx="627095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3</a:t>
            </a:r>
            <a:endParaRPr lang="en-US" sz="3200" dirty="0">
              <a:solidFill>
                <a:schemeClr val="accent1">
                  <a:lumMod val="20000"/>
                  <a:lumOff val="80000"/>
                </a:schemeClr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3050480" y="4611957"/>
            <a:ext cx="627095" cy="5847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4</a:t>
            </a:r>
            <a:endParaRPr lang="en-US" sz="3200" dirty="0">
              <a:solidFill>
                <a:schemeClr val="accent1">
                  <a:lumMod val="60000"/>
                  <a:lumOff val="40000"/>
                </a:schemeClr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4682733" y="3325825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4682733" y="4031083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4682733" y="4776491"/>
            <a:ext cx="715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5586415" y="2493440"/>
            <a:ext cx="6158795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endParaRPr lang="en-US" sz="1100" dirty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5586415" y="3186534"/>
            <a:ext cx="6158795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endParaRPr lang="en-US" sz="1100" dirty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5586415" y="3879628"/>
            <a:ext cx="6158795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endParaRPr lang="en-US" sz="1100" dirty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5586415" y="4572722"/>
            <a:ext cx="6158795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endParaRPr lang="en-US" sz="1100" dirty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61" name="Chevron 160"/>
          <p:cNvSpPr/>
          <p:nvPr/>
        </p:nvSpPr>
        <p:spPr>
          <a:xfrm rot="5400000">
            <a:off x="3824116" y="3053590"/>
            <a:ext cx="215728" cy="221150"/>
          </a:xfrm>
          <a:prstGeom prst="chevron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7" name="Chevron 166"/>
          <p:cNvSpPr/>
          <p:nvPr/>
        </p:nvSpPr>
        <p:spPr>
          <a:xfrm rot="5400000">
            <a:off x="3824116" y="3756630"/>
            <a:ext cx="215728" cy="221150"/>
          </a:xfrm>
          <a:prstGeom prst="chevron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8" name="Chevron 167"/>
          <p:cNvSpPr/>
          <p:nvPr/>
        </p:nvSpPr>
        <p:spPr>
          <a:xfrm rot="5400000">
            <a:off x="3824116" y="4459670"/>
            <a:ext cx="215728" cy="221150"/>
          </a:xfrm>
          <a:prstGeom prst="chevron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fographics</a:t>
            </a:r>
          </a:p>
        </p:txBody>
      </p:sp>
      <p:sp>
        <p:nvSpPr>
          <p:cNvPr id="64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86" name="Freeform 85"/>
          <p:cNvSpPr/>
          <p:nvPr/>
        </p:nvSpPr>
        <p:spPr>
          <a:xfrm>
            <a:off x="3760542" y="2678290"/>
            <a:ext cx="332881" cy="286070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Freeform 86"/>
          <p:cNvSpPr/>
          <p:nvPr/>
        </p:nvSpPr>
        <p:spPr>
          <a:xfrm>
            <a:off x="3790712" y="3406533"/>
            <a:ext cx="272541" cy="272540"/>
          </a:xfrm>
          <a:custGeom>
            <a:avLst/>
            <a:gdLst/>
            <a:ahLst/>
            <a:cxnLst/>
            <a:rect l="l" t="t" r="r" b="b"/>
            <a:pathLst>
              <a:path w="1019175" h="1019175">
                <a:moveTo>
                  <a:pt x="429965" y="752438"/>
                </a:moveTo>
                <a:lnTo>
                  <a:pt x="429965" y="981354"/>
                </a:lnTo>
                <a:cubicBezTo>
                  <a:pt x="456506" y="985335"/>
                  <a:pt x="483047" y="987326"/>
                  <a:pt x="509588" y="987326"/>
                </a:cubicBezTo>
                <a:cubicBezTo>
                  <a:pt x="536129" y="987326"/>
                  <a:pt x="562670" y="985335"/>
                  <a:pt x="589211" y="981354"/>
                </a:cubicBezTo>
                <a:lnTo>
                  <a:pt x="589211" y="752438"/>
                </a:lnTo>
                <a:cubicBezTo>
                  <a:pt x="562670" y="760400"/>
                  <a:pt x="536129" y="764381"/>
                  <a:pt x="509588" y="764381"/>
                </a:cubicBezTo>
                <a:cubicBezTo>
                  <a:pt x="481720" y="764381"/>
                  <a:pt x="455179" y="760400"/>
                  <a:pt x="429965" y="752438"/>
                </a:cubicBezTo>
                <a:close/>
                <a:moveTo>
                  <a:pt x="738504" y="621060"/>
                </a:moveTo>
                <a:cubicBezTo>
                  <a:pt x="711963" y="672815"/>
                  <a:pt x="672815" y="711963"/>
                  <a:pt x="621060" y="738504"/>
                </a:cubicBezTo>
                <a:lnTo>
                  <a:pt x="621060" y="973392"/>
                </a:lnTo>
                <a:cubicBezTo>
                  <a:pt x="707318" y="952159"/>
                  <a:pt x="782297" y="909693"/>
                  <a:pt x="845995" y="845995"/>
                </a:cubicBezTo>
                <a:cubicBezTo>
                  <a:pt x="909694" y="782297"/>
                  <a:pt x="952159" y="707318"/>
                  <a:pt x="973392" y="621060"/>
                </a:cubicBezTo>
                <a:close/>
                <a:moveTo>
                  <a:pt x="45784" y="621060"/>
                </a:moveTo>
                <a:cubicBezTo>
                  <a:pt x="67016" y="707318"/>
                  <a:pt x="109482" y="782297"/>
                  <a:pt x="173180" y="845995"/>
                </a:cubicBezTo>
                <a:cubicBezTo>
                  <a:pt x="236879" y="909693"/>
                  <a:pt x="311857" y="952159"/>
                  <a:pt x="398115" y="973392"/>
                </a:cubicBezTo>
                <a:lnTo>
                  <a:pt x="398115" y="738504"/>
                </a:lnTo>
                <a:cubicBezTo>
                  <a:pt x="346360" y="711963"/>
                  <a:pt x="307212" y="672815"/>
                  <a:pt x="280672" y="621060"/>
                </a:cubicBezTo>
                <a:close/>
                <a:moveTo>
                  <a:pt x="752438" y="429965"/>
                </a:moveTo>
                <a:cubicBezTo>
                  <a:pt x="760400" y="456506"/>
                  <a:pt x="764382" y="483047"/>
                  <a:pt x="764382" y="509588"/>
                </a:cubicBezTo>
                <a:cubicBezTo>
                  <a:pt x="764382" y="537456"/>
                  <a:pt x="760400" y="563997"/>
                  <a:pt x="752438" y="589211"/>
                </a:cubicBezTo>
                <a:lnTo>
                  <a:pt x="981354" y="589211"/>
                </a:lnTo>
                <a:cubicBezTo>
                  <a:pt x="985335" y="562670"/>
                  <a:pt x="987326" y="536129"/>
                  <a:pt x="987326" y="509588"/>
                </a:cubicBezTo>
                <a:cubicBezTo>
                  <a:pt x="987326" y="481720"/>
                  <a:pt x="985335" y="455179"/>
                  <a:pt x="981354" y="429965"/>
                </a:cubicBezTo>
                <a:close/>
                <a:moveTo>
                  <a:pt x="37821" y="429965"/>
                </a:moveTo>
                <a:cubicBezTo>
                  <a:pt x="33840" y="456506"/>
                  <a:pt x="31849" y="483047"/>
                  <a:pt x="31849" y="509588"/>
                </a:cubicBezTo>
                <a:cubicBezTo>
                  <a:pt x="31849" y="536129"/>
                  <a:pt x="33840" y="562670"/>
                  <a:pt x="37821" y="589211"/>
                </a:cubicBezTo>
                <a:lnTo>
                  <a:pt x="266737" y="589211"/>
                </a:lnTo>
                <a:cubicBezTo>
                  <a:pt x="258775" y="562670"/>
                  <a:pt x="254794" y="536129"/>
                  <a:pt x="254794" y="509588"/>
                </a:cubicBezTo>
                <a:cubicBezTo>
                  <a:pt x="254794" y="483047"/>
                  <a:pt x="258775" y="456506"/>
                  <a:pt x="266737" y="429965"/>
                </a:cubicBezTo>
                <a:close/>
                <a:moveTo>
                  <a:pt x="509588" y="286643"/>
                </a:moveTo>
                <a:cubicBezTo>
                  <a:pt x="448543" y="286643"/>
                  <a:pt x="396125" y="308539"/>
                  <a:pt x="352332" y="352332"/>
                </a:cubicBezTo>
                <a:cubicBezTo>
                  <a:pt x="308540" y="396125"/>
                  <a:pt x="286643" y="448543"/>
                  <a:pt x="286643" y="509588"/>
                </a:cubicBezTo>
                <a:cubicBezTo>
                  <a:pt x="286643" y="570632"/>
                  <a:pt x="308540" y="623051"/>
                  <a:pt x="352332" y="666843"/>
                </a:cubicBezTo>
                <a:cubicBezTo>
                  <a:pt x="396125" y="710636"/>
                  <a:pt x="448543" y="732532"/>
                  <a:pt x="509588" y="732532"/>
                </a:cubicBezTo>
                <a:cubicBezTo>
                  <a:pt x="570632" y="732532"/>
                  <a:pt x="623051" y="710636"/>
                  <a:pt x="666843" y="666843"/>
                </a:cubicBezTo>
                <a:cubicBezTo>
                  <a:pt x="710636" y="623051"/>
                  <a:pt x="732532" y="570632"/>
                  <a:pt x="732532" y="509588"/>
                </a:cubicBezTo>
                <a:cubicBezTo>
                  <a:pt x="732532" y="448543"/>
                  <a:pt x="710636" y="396125"/>
                  <a:pt x="666843" y="352332"/>
                </a:cubicBezTo>
                <a:cubicBezTo>
                  <a:pt x="623051" y="308539"/>
                  <a:pt x="570632" y="286643"/>
                  <a:pt x="509588" y="286643"/>
                </a:cubicBezTo>
                <a:close/>
                <a:moveTo>
                  <a:pt x="621060" y="45783"/>
                </a:moveTo>
                <a:lnTo>
                  <a:pt x="621060" y="280671"/>
                </a:lnTo>
                <a:cubicBezTo>
                  <a:pt x="672815" y="307212"/>
                  <a:pt x="711963" y="346360"/>
                  <a:pt x="738504" y="398115"/>
                </a:cubicBezTo>
                <a:lnTo>
                  <a:pt x="973392" y="398115"/>
                </a:lnTo>
                <a:cubicBezTo>
                  <a:pt x="952159" y="311857"/>
                  <a:pt x="909694" y="236879"/>
                  <a:pt x="845995" y="173180"/>
                </a:cubicBezTo>
                <a:cubicBezTo>
                  <a:pt x="782297" y="109482"/>
                  <a:pt x="707318" y="67016"/>
                  <a:pt x="621060" y="45783"/>
                </a:cubicBezTo>
                <a:close/>
                <a:moveTo>
                  <a:pt x="398115" y="45783"/>
                </a:moveTo>
                <a:cubicBezTo>
                  <a:pt x="311857" y="67016"/>
                  <a:pt x="236879" y="109482"/>
                  <a:pt x="173180" y="173180"/>
                </a:cubicBezTo>
                <a:cubicBezTo>
                  <a:pt x="109482" y="236879"/>
                  <a:pt x="67016" y="311857"/>
                  <a:pt x="45784" y="398115"/>
                </a:cubicBezTo>
                <a:lnTo>
                  <a:pt x="280672" y="398115"/>
                </a:lnTo>
                <a:cubicBezTo>
                  <a:pt x="307212" y="346360"/>
                  <a:pt x="346360" y="307212"/>
                  <a:pt x="398115" y="280671"/>
                </a:cubicBezTo>
                <a:close/>
                <a:moveTo>
                  <a:pt x="509588" y="31849"/>
                </a:moveTo>
                <a:cubicBezTo>
                  <a:pt x="481720" y="31849"/>
                  <a:pt x="455179" y="33840"/>
                  <a:pt x="429965" y="37821"/>
                </a:cubicBezTo>
                <a:lnTo>
                  <a:pt x="429965" y="266737"/>
                </a:lnTo>
                <a:cubicBezTo>
                  <a:pt x="456506" y="258775"/>
                  <a:pt x="483047" y="254794"/>
                  <a:pt x="509588" y="254794"/>
                </a:cubicBezTo>
                <a:cubicBezTo>
                  <a:pt x="537456" y="254794"/>
                  <a:pt x="563997" y="258775"/>
                  <a:pt x="589211" y="266737"/>
                </a:cubicBezTo>
                <a:lnTo>
                  <a:pt x="589211" y="37821"/>
                </a:lnTo>
                <a:cubicBezTo>
                  <a:pt x="562670" y="33840"/>
                  <a:pt x="536129" y="31849"/>
                  <a:pt x="509588" y="31849"/>
                </a:cubicBezTo>
                <a:close/>
                <a:moveTo>
                  <a:pt x="509588" y="0"/>
                </a:moveTo>
                <a:cubicBezTo>
                  <a:pt x="650255" y="0"/>
                  <a:pt x="770353" y="49765"/>
                  <a:pt x="869882" y="149293"/>
                </a:cubicBezTo>
                <a:cubicBezTo>
                  <a:pt x="969411" y="248822"/>
                  <a:pt x="1019175" y="368920"/>
                  <a:pt x="1019175" y="509588"/>
                </a:cubicBezTo>
                <a:cubicBezTo>
                  <a:pt x="1019175" y="650255"/>
                  <a:pt x="969411" y="770353"/>
                  <a:pt x="869882" y="869882"/>
                </a:cubicBezTo>
                <a:cubicBezTo>
                  <a:pt x="770353" y="969411"/>
                  <a:pt x="650255" y="1019175"/>
                  <a:pt x="509588" y="1019175"/>
                </a:cubicBezTo>
                <a:cubicBezTo>
                  <a:pt x="368920" y="1019175"/>
                  <a:pt x="248822" y="969411"/>
                  <a:pt x="149293" y="869882"/>
                </a:cubicBezTo>
                <a:cubicBezTo>
                  <a:pt x="49765" y="770353"/>
                  <a:pt x="0" y="650255"/>
                  <a:pt x="0" y="509588"/>
                </a:cubicBezTo>
                <a:cubicBezTo>
                  <a:pt x="0" y="368920"/>
                  <a:pt x="49765" y="248822"/>
                  <a:pt x="149293" y="149293"/>
                </a:cubicBezTo>
                <a:cubicBezTo>
                  <a:pt x="248822" y="49765"/>
                  <a:pt x="368920" y="0"/>
                  <a:pt x="50958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Freeform 87"/>
          <p:cNvSpPr/>
          <p:nvPr/>
        </p:nvSpPr>
        <p:spPr>
          <a:xfrm>
            <a:off x="3784271" y="4084700"/>
            <a:ext cx="267301" cy="293574"/>
          </a:xfrm>
          <a:custGeom>
            <a:avLst/>
            <a:gdLst/>
            <a:ahLst/>
            <a:cxnLst/>
            <a:rect l="l" t="t" r="r" b="b"/>
            <a:pathLst>
              <a:path w="931589" h="1023156">
                <a:moveTo>
                  <a:pt x="376219" y="489682"/>
                </a:moveTo>
                <a:lnTo>
                  <a:pt x="286643" y="720589"/>
                </a:lnTo>
                <a:lnTo>
                  <a:pt x="517550" y="631013"/>
                </a:lnTo>
                <a:close/>
                <a:moveTo>
                  <a:pt x="642956" y="364276"/>
                </a:moveTo>
                <a:lnTo>
                  <a:pt x="398115" y="467786"/>
                </a:lnTo>
                <a:lnTo>
                  <a:pt x="539446" y="609116"/>
                </a:lnTo>
                <a:close/>
                <a:moveTo>
                  <a:pt x="666843" y="320483"/>
                </a:moveTo>
                <a:lnTo>
                  <a:pt x="686748" y="340389"/>
                </a:lnTo>
                <a:lnTo>
                  <a:pt x="559352" y="642956"/>
                </a:lnTo>
                <a:lnTo>
                  <a:pt x="551389" y="650919"/>
                </a:lnTo>
                <a:lnTo>
                  <a:pt x="264746" y="762391"/>
                </a:lnTo>
                <a:lnTo>
                  <a:pt x="244841" y="742485"/>
                </a:lnTo>
                <a:lnTo>
                  <a:pt x="356313" y="455842"/>
                </a:lnTo>
                <a:lnTo>
                  <a:pt x="364275" y="447880"/>
                </a:lnTo>
                <a:close/>
                <a:moveTo>
                  <a:pt x="449870" y="123416"/>
                </a:moveTo>
                <a:cubicBezTo>
                  <a:pt x="334416" y="127397"/>
                  <a:pt x="237542" y="169863"/>
                  <a:pt x="159246" y="250813"/>
                </a:cubicBezTo>
                <a:cubicBezTo>
                  <a:pt x="78296" y="329109"/>
                  <a:pt x="35830" y="425983"/>
                  <a:pt x="31849" y="541437"/>
                </a:cubicBezTo>
                <a:lnTo>
                  <a:pt x="99528" y="541437"/>
                </a:lnTo>
                <a:lnTo>
                  <a:pt x="99528" y="573286"/>
                </a:lnTo>
                <a:lnTo>
                  <a:pt x="31849" y="573286"/>
                </a:lnTo>
                <a:cubicBezTo>
                  <a:pt x="35830" y="688740"/>
                  <a:pt x="78296" y="785614"/>
                  <a:pt x="159246" y="863910"/>
                </a:cubicBezTo>
                <a:cubicBezTo>
                  <a:pt x="237542" y="944860"/>
                  <a:pt x="334416" y="987326"/>
                  <a:pt x="449870" y="991307"/>
                </a:cubicBezTo>
                <a:lnTo>
                  <a:pt x="449870" y="923627"/>
                </a:lnTo>
                <a:lnTo>
                  <a:pt x="481719" y="923627"/>
                </a:lnTo>
                <a:lnTo>
                  <a:pt x="481719" y="991307"/>
                </a:lnTo>
                <a:cubicBezTo>
                  <a:pt x="597173" y="987326"/>
                  <a:pt x="694047" y="944860"/>
                  <a:pt x="772343" y="863910"/>
                </a:cubicBezTo>
                <a:cubicBezTo>
                  <a:pt x="853293" y="785614"/>
                  <a:pt x="895759" y="688740"/>
                  <a:pt x="899740" y="573286"/>
                </a:cubicBezTo>
                <a:lnTo>
                  <a:pt x="832061" y="573286"/>
                </a:lnTo>
                <a:lnTo>
                  <a:pt x="832061" y="541437"/>
                </a:lnTo>
                <a:lnTo>
                  <a:pt x="899740" y="541437"/>
                </a:lnTo>
                <a:cubicBezTo>
                  <a:pt x="895759" y="425983"/>
                  <a:pt x="853293" y="329109"/>
                  <a:pt x="772343" y="250813"/>
                </a:cubicBezTo>
                <a:cubicBezTo>
                  <a:pt x="694047" y="169863"/>
                  <a:pt x="597173" y="127397"/>
                  <a:pt x="481719" y="123416"/>
                </a:cubicBezTo>
                <a:lnTo>
                  <a:pt x="481719" y="191095"/>
                </a:lnTo>
                <a:lnTo>
                  <a:pt x="449870" y="191095"/>
                </a:lnTo>
                <a:close/>
                <a:moveTo>
                  <a:pt x="465794" y="31849"/>
                </a:moveTo>
                <a:cubicBezTo>
                  <a:pt x="447216" y="31849"/>
                  <a:pt x="431955" y="37821"/>
                  <a:pt x="420011" y="49765"/>
                </a:cubicBezTo>
                <a:cubicBezTo>
                  <a:pt x="408068" y="61708"/>
                  <a:pt x="402096" y="76969"/>
                  <a:pt x="402096" y="95548"/>
                </a:cubicBezTo>
                <a:cubicBezTo>
                  <a:pt x="416694" y="92894"/>
                  <a:pt x="437926" y="91567"/>
                  <a:pt x="465794" y="91567"/>
                </a:cubicBezTo>
                <a:cubicBezTo>
                  <a:pt x="493663" y="91567"/>
                  <a:pt x="514895" y="92894"/>
                  <a:pt x="529493" y="95548"/>
                </a:cubicBezTo>
                <a:cubicBezTo>
                  <a:pt x="529493" y="76969"/>
                  <a:pt x="523521" y="61708"/>
                  <a:pt x="511578" y="49765"/>
                </a:cubicBezTo>
                <a:cubicBezTo>
                  <a:pt x="499634" y="37821"/>
                  <a:pt x="484373" y="31849"/>
                  <a:pt x="465794" y="31849"/>
                </a:cubicBezTo>
                <a:close/>
                <a:moveTo>
                  <a:pt x="465794" y="0"/>
                </a:moveTo>
                <a:cubicBezTo>
                  <a:pt x="492336" y="0"/>
                  <a:pt x="514895" y="9289"/>
                  <a:pt x="533474" y="27868"/>
                </a:cubicBezTo>
                <a:cubicBezTo>
                  <a:pt x="552053" y="46447"/>
                  <a:pt x="561342" y="69007"/>
                  <a:pt x="561342" y="95548"/>
                </a:cubicBezTo>
                <a:lnTo>
                  <a:pt x="561342" y="101520"/>
                </a:lnTo>
                <a:cubicBezTo>
                  <a:pt x="650255" y="120098"/>
                  <a:pt x="728551" y="161900"/>
                  <a:pt x="796230" y="226926"/>
                </a:cubicBezTo>
                <a:cubicBezTo>
                  <a:pt x="886470" y="319819"/>
                  <a:pt x="931589" y="429965"/>
                  <a:pt x="931589" y="557361"/>
                </a:cubicBezTo>
                <a:cubicBezTo>
                  <a:pt x="931589" y="684758"/>
                  <a:pt x="886470" y="794904"/>
                  <a:pt x="796230" y="887797"/>
                </a:cubicBezTo>
                <a:cubicBezTo>
                  <a:pt x="703337" y="978037"/>
                  <a:pt x="593191" y="1023156"/>
                  <a:pt x="465794" y="1023156"/>
                </a:cubicBezTo>
                <a:cubicBezTo>
                  <a:pt x="338398" y="1023156"/>
                  <a:pt x="228252" y="978037"/>
                  <a:pt x="135359" y="887797"/>
                </a:cubicBezTo>
                <a:cubicBezTo>
                  <a:pt x="45119" y="794904"/>
                  <a:pt x="0" y="684758"/>
                  <a:pt x="0" y="557361"/>
                </a:cubicBezTo>
                <a:cubicBezTo>
                  <a:pt x="0" y="429965"/>
                  <a:pt x="45119" y="319819"/>
                  <a:pt x="135359" y="226926"/>
                </a:cubicBezTo>
                <a:cubicBezTo>
                  <a:pt x="203038" y="161900"/>
                  <a:pt x="281334" y="120098"/>
                  <a:pt x="370247" y="101520"/>
                </a:cubicBezTo>
                <a:lnTo>
                  <a:pt x="370247" y="95548"/>
                </a:lnTo>
                <a:cubicBezTo>
                  <a:pt x="370247" y="69007"/>
                  <a:pt x="379536" y="46447"/>
                  <a:pt x="398115" y="27868"/>
                </a:cubicBezTo>
                <a:cubicBezTo>
                  <a:pt x="416694" y="9289"/>
                  <a:pt x="439254" y="0"/>
                  <a:pt x="4657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reeform 88"/>
          <p:cNvSpPr/>
          <p:nvPr/>
        </p:nvSpPr>
        <p:spPr>
          <a:xfrm>
            <a:off x="3760542" y="4775788"/>
            <a:ext cx="332881" cy="286070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6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170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857627" y="3182608"/>
            <a:ext cx="1876423" cy="1960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9" name="Chevron 8"/>
          <p:cNvSpPr/>
          <p:nvPr/>
        </p:nvSpPr>
        <p:spPr>
          <a:xfrm>
            <a:off x="9756201" y="2145044"/>
            <a:ext cx="2135762" cy="938972"/>
          </a:xfrm>
          <a:prstGeom prst="chevron">
            <a:avLst>
              <a:gd name="adj" fmla="val 2075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2400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sz="24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789484" y="2145044"/>
            <a:ext cx="2135762" cy="938972"/>
          </a:xfrm>
          <a:prstGeom prst="chevron">
            <a:avLst>
              <a:gd name="adj" fmla="val 207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2400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sz="24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5822764" y="2145044"/>
            <a:ext cx="2135764" cy="938972"/>
          </a:xfrm>
          <a:prstGeom prst="chevron">
            <a:avLst>
              <a:gd name="adj" fmla="val 2075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2400" dirty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sz="24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3781427" y="2145044"/>
            <a:ext cx="2210381" cy="938972"/>
          </a:xfrm>
          <a:prstGeom prst="homePlate">
            <a:avLst>
              <a:gd name="adj" fmla="val 2114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24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STEP</a:t>
            </a:r>
            <a:endParaRPr lang="en-US" sz="24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838466" y="3182608"/>
            <a:ext cx="1876423" cy="1960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19305" y="3182608"/>
            <a:ext cx="1876423" cy="1960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800145" y="3182608"/>
            <a:ext cx="1876423" cy="1960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100" dirty="0" err="1">
                <a:solidFill>
                  <a:schemeClr val="accent4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100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16" name="Oval 15"/>
          <p:cNvSpPr/>
          <p:nvPr/>
        </p:nvSpPr>
        <p:spPr>
          <a:xfrm>
            <a:off x="4477956" y="1546224"/>
            <a:ext cx="715963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6448201" y="1546224"/>
            <a:ext cx="715963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8409525" y="1555749"/>
            <a:ext cx="715963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10392337" y="1555749"/>
            <a:ext cx="715963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6445027" y="1554162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7"/>
          <p:cNvSpPr>
            <a:spLocks/>
          </p:cNvSpPr>
          <p:nvPr/>
        </p:nvSpPr>
        <p:spPr bwMode="auto">
          <a:xfrm>
            <a:off x="10380375" y="1553368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57"/>
          <p:cNvSpPr>
            <a:spLocks/>
          </p:cNvSpPr>
          <p:nvPr/>
        </p:nvSpPr>
        <p:spPr bwMode="auto">
          <a:xfrm>
            <a:off x="8411907" y="1553368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4478147" y="1546225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521786" y="1611817"/>
            <a:ext cx="62709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1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484424" y="1611817"/>
            <a:ext cx="62709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2</a:t>
            </a:r>
            <a:endParaRPr lang="en-US" sz="32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464703" y="1611817"/>
            <a:ext cx="62709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3</a:t>
            </a:r>
            <a:endParaRPr lang="en-US" sz="32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436770" y="1611817"/>
            <a:ext cx="627095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pl-PL" sz="32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4</a:t>
            </a:r>
            <a:endParaRPr lang="en-US" sz="32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857627" y="5183279"/>
            <a:ext cx="1876423" cy="569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38466" y="5183279"/>
            <a:ext cx="1876423" cy="569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819305" y="5183279"/>
            <a:ext cx="1876423" cy="569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9800145" y="5183279"/>
            <a:ext cx="1876423" cy="569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fographics</a:t>
            </a:r>
          </a:p>
        </p:txBody>
      </p:sp>
      <p:sp>
        <p:nvSpPr>
          <p:cNvPr id="37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77068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170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5" name="Content Placeholder 15"/>
          <p:cNvSpPr txBox="1">
            <a:spLocks/>
          </p:cNvSpPr>
          <p:nvPr/>
        </p:nvSpPr>
        <p:spPr>
          <a:xfrm>
            <a:off x="4218854" y="756703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70%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46" name="Content Placeholder 15"/>
          <p:cNvSpPr txBox="1">
            <a:spLocks/>
          </p:cNvSpPr>
          <p:nvPr/>
        </p:nvSpPr>
        <p:spPr>
          <a:xfrm>
            <a:off x="4218854" y="1310701"/>
            <a:ext cx="179583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b="1" i="1" dirty="0" smtClean="0">
                <a:solidFill>
                  <a:schemeClr val="accent4"/>
                </a:solidFill>
              </a:rPr>
              <a:t>Your text here</a:t>
            </a:r>
            <a:endParaRPr lang="en-US" sz="1500" b="1" i="1" dirty="0">
              <a:solidFill>
                <a:schemeClr val="accent4"/>
              </a:solidFill>
            </a:endParaRPr>
          </a:p>
        </p:txBody>
      </p:sp>
      <p:sp>
        <p:nvSpPr>
          <p:cNvPr id="48" name="Content Placeholder 15"/>
          <p:cNvSpPr txBox="1">
            <a:spLocks/>
          </p:cNvSpPr>
          <p:nvPr/>
        </p:nvSpPr>
        <p:spPr>
          <a:xfrm>
            <a:off x="6042540" y="756703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30%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6042540" y="1310701"/>
            <a:ext cx="179583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b="1" i="1" dirty="0" smtClean="0">
                <a:solidFill>
                  <a:schemeClr val="accent4"/>
                </a:solidFill>
              </a:rPr>
              <a:t>Your text here</a:t>
            </a:r>
            <a:endParaRPr lang="en-US" sz="1500" b="1" i="1" dirty="0">
              <a:solidFill>
                <a:schemeClr val="accent4"/>
              </a:solidFill>
            </a:endParaRPr>
          </a:p>
        </p:txBody>
      </p:sp>
      <p:sp>
        <p:nvSpPr>
          <p:cNvPr id="51" name="Content Placeholder 15"/>
          <p:cNvSpPr txBox="1">
            <a:spLocks/>
          </p:cNvSpPr>
          <p:nvPr/>
        </p:nvSpPr>
        <p:spPr>
          <a:xfrm>
            <a:off x="7923894" y="756703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85%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52" name="Content Placeholder 15"/>
          <p:cNvSpPr txBox="1">
            <a:spLocks/>
          </p:cNvSpPr>
          <p:nvPr/>
        </p:nvSpPr>
        <p:spPr>
          <a:xfrm>
            <a:off x="7923894" y="1310701"/>
            <a:ext cx="179583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b="1" i="1" dirty="0" smtClean="0">
                <a:solidFill>
                  <a:schemeClr val="accent4"/>
                </a:solidFill>
              </a:rPr>
              <a:t>Your text here</a:t>
            </a:r>
            <a:endParaRPr lang="en-US" sz="1500" b="1" i="1" dirty="0">
              <a:solidFill>
                <a:schemeClr val="accent4"/>
              </a:solidFill>
            </a:endParaRPr>
          </a:p>
        </p:txBody>
      </p:sp>
      <p:sp>
        <p:nvSpPr>
          <p:cNvPr id="54" name="Content Placeholder 15"/>
          <p:cNvSpPr txBox="1">
            <a:spLocks/>
          </p:cNvSpPr>
          <p:nvPr/>
        </p:nvSpPr>
        <p:spPr>
          <a:xfrm>
            <a:off x="9717148" y="756703"/>
            <a:ext cx="179546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i="1" dirty="0" smtClean="0">
                <a:solidFill>
                  <a:schemeClr val="accent1"/>
                </a:solidFill>
                <a:latin typeface="Source Sans Pro Black" panose="020B0803030403020204" pitchFamily="34" charset="-18"/>
              </a:rPr>
              <a:t>45%</a:t>
            </a:r>
            <a:endParaRPr lang="en-US" sz="3600" b="1" i="1" dirty="0">
              <a:solidFill>
                <a:schemeClr val="accent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55" name="Content Placeholder 15"/>
          <p:cNvSpPr txBox="1">
            <a:spLocks/>
          </p:cNvSpPr>
          <p:nvPr/>
        </p:nvSpPr>
        <p:spPr>
          <a:xfrm>
            <a:off x="9717148" y="1310701"/>
            <a:ext cx="1795831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b="1" i="1" dirty="0" smtClean="0">
                <a:solidFill>
                  <a:schemeClr val="accent4"/>
                </a:solidFill>
              </a:rPr>
              <a:t>Your text here</a:t>
            </a:r>
            <a:endParaRPr lang="en-US" sz="1500" b="1" i="1" dirty="0">
              <a:solidFill>
                <a:schemeClr val="accent4"/>
              </a:solidFill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5991974" y="859504"/>
            <a:ext cx="3599446" cy="5077746"/>
            <a:chOff x="5991974" y="0"/>
            <a:chExt cx="3599446" cy="6858000"/>
          </a:xfrm>
        </p:grpSpPr>
        <p:cxnSp>
          <p:nvCxnSpPr>
            <p:cNvPr id="95" name="Straight Connector 94"/>
            <p:cNvCxnSpPr/>
            <p:nvPr/>
          </p:nvCxnSpPr>
          <p:spPr>
            <a:xfrm>
              <a:off x="5991974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7790903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9591420" y="0"/>
              <a:ext cx="0" cy="685800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" name="Straight Connector 57"/>
          <p:cNvCxnSpPr/>
          <p:nvPr/>
        </p:nvCxnSpPr>
        <p:spPr>
          <a:xfrm flipV="1">
            <a:off x="5092510" y="1902174"/>
            <a:ext cx="25400" cy="3281013"/>
          </a:xfrm>
          <a:prstGeom prst="line">
            <a:avLst/>
          </a:prstGeom>
          <a:ln w="98425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5092510" y="2956859"/>
            <a:ext cx="12495" cy="2226329"/>
          </a:xfrm>
          <a:prstGeom prst="line">
            <a:avLst/>
          </a:prstGeom>
          <a:ln w="984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V="1">
            <a:off x="6909578" y="1902174"/>
            <a:ext cx="25400" cy="3281013"/>
          </a:xfrm>
          <a:prstGeom prst="line">
            <a:avLst/>
          </a:prstGeom>
          <a:ln w="98425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V="1">
            <a:off x="6909578" y="4181588"/>
            <a:ext cx="7754" cy="1001599"/>
          </a:xfrm>
          <a:prstGeom prst="line">
            <a:avLst/>
          </a:prstGeom>
          <a:ln w="984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flipV="1">
            <a:off x="8708833" y="1902174"/>
            <a:ext cx="25400" cy="3281013"/>
          </a:xfrm>
          <a:prstGeom prst="line">
            <a:avLst/>
          </a:prstGeom>
          <a:ln w="98425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V="1">
            <a:off x="8708833" y="2364454"/>
            <a:ext cx="21821" cy="2818733"/>
          </a:xfrm>
          <a:prstGeom prst="line">
            <a:avLst/>
          </a:prstGeom>
          <a:ln w="984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flipV="1">
            <a:off x="10500182" y="1902174"/>
            <a:ext cx="25400" cy="3281013"/>
          </a:xfrm>
          <a:prstGeom prst="line">
            <a:avLst/>
          </a:prstGeom>
          <a:ln w="98425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V="1">
            <a:off x="10500182" y="3719791"/>
            <a:ext cx="11329" cy="1463396"/>
          </a:xfrm>
          <a:prstGeom prst="line">
            <a:avLst/>
          </a:prstGeom>
          <a:ln w="9842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/>
          <p:cNvGrpSpPr/>
          <p:nvPr/>
        </p:nvGrpSpPr>
        <p:grpSpPr>
          <a:xfrm flipV="1">
            <a:off x="6752860" y="4014179"/>
            <a:ext cx="334818" cy="334818"/>
            <a:chOff x="4882960" y="3371850"/>
            <a:chExt cx="469900" cy="469900"/>
          </a:xfrm>
        </p:grpSpPr>
        <p:sp>
          <p:nvSpPr>
            <p:cNvPr id="84" name="Oval 83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oup 86"/>
          <p:cNvGrpSpPr/>
          <p:nvPr/>
        </p:nvGrpSpPr>
        <p:grpSpPr>
          <a:xfrm flipV="1">
            <a:off x="4948748" y="2725881"/>
            <a:ext cx="334818" cy="334818"/>
            <a:chOff x="4882960" y="3371850"/>
            <a:chExt cx="469900" cy="469900"/>
          </a:xfrm>
        </p:grpSpPr>
        <p:sp>
          <p:nvSpPr>
            <p:cNvPr id="88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Oval 88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Oval 89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1" name="Group 90"/>
          <p:cNvGrpSpPr/>
          <p:nvPr/>
        </p:nvGrpSpPr>
        <p:grpSpPr>
          <a:xfrm flipV="1">
            <a:off x="8566687" y="2237386"/>
            <a:ext cx="334818" cy="334818"/>
            <a:chOff x="4882960" y="3371850"/>
            <a:chExt cx="469900" cy="469900"/>
          </a:xfrm>
        </p:grpSpPr>
        <p:sp>
          <p:nvSpPr>
            <p:cNvPr id="92" name="Oval 91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Oval 92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Oval 93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3" name="Group 102"/>
          <p:cNvGrpSpPr/>
          <p:nvPr/>
        </p:nvGrpSpPr>
        <p:grpSpPr>
          <a:xfrm flipV="1">
            <a:off x="10355253" y="3556442"/>
            <a:ext cx="334818" cy="334818"/>
            <a:chOff x="4882960" y="3371850"/>
            <a:chExt cx="469900" cy="469900"/>
          </a:xfrm>
        </p:grpSpPr>
        <p:sp>
          <p:nvSpPr>
            <p:cNvPr id="104" name="Oval 103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Oval 104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Oval 105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3" name="Straight Connector 72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fographics</a:t>
            </a:r>
          </a:p>
        </p:txBody>
      </p:sp>
      <p:sp>
        <p:nvSpPr>
          <p:cNvPr id="76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79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auto">
          <a:xfrm>
            <a:off x="6534251" y="5171859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solidFill>
            <a:srgbClr val="FFFFFF"/>
          </a:solidFill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80"/>
          <p:cNvSpPr/>
          <p:nvPr/>
        </p:nvSpPr>
        <p:spPr>
          <a:xfrm>
            <a:off x="6699039" y="5285225"/>
            <a:ext cx="417017" cy="458006"/>
          </a:xfrm>
          <a:custGeom>
            <a:avLst/>
            <a:gdLst/>
            <a:ahLst/>
            <a:cxnLst/>
            <a:rect l="l" t="t" r="r" b="b"/>
            <a:pathLst>
              <a:path w="931589" h="1023156">
                <a:moveTo>
                  <a:pt x="376219" y="489682"/>
                </a:moveTo>
                <a:lnTo>
                  <a:pt x="286643" y="720589"/>
                </a:lnTo>
                <a:lnTo>
                  <a:pt x="517550" y="631013"/>
                </a:lnTo>
                <a:close/>
                <a:moveTo>
                  <a:pt x="642956" y="364276"/>
                </a:moveTo>
                <a:lnTo>
                  <a:pt x="398115" y="467786"/>
                </a:lnTo>
                <a:lnTo>
                  <a:pt x="539446" y="609116"/>
                </a:lnTo>
                <a:close/>
                <a:moveTo>
                  <a:pt x="666843" y="320483"/>
                </a:moveTo>
                <a:lnTo>
                  <a:pt x="686748" y="340389"/>
                </a:lnTo>
                <a:lnTo>
                  <a:pt x="559352" y="642956"/>
                </a:lnTo>
                <a:lnTo>
                  <a:pt x="551389" y="650919"/>
                </a:lnTo>
                <a:lnTo>
                  <a:pt x="264746" y="762391"/>
                </a:lnTo>
                <a:lnTo>
                  <a:pt x="244841" y="742485"/>
                </a:lnTo>
                <a:lnTo>
                  <a:pt x="356313" y="455842"/>
                </a:lnTo>
                <a:lnTo>
                  <a:pt x="364275" y="447880"/>
                </a:lnTo>
                <a:close/>
                <a:moveTo>
                  <a:pt x="449870" y="123416"/>
                </a:moveTo>
                <a:cubicBezTo>
                  <a:pt x="334416" y="127397"/>
                  <a:pt x="237542" y="169863"/>
                  <a:pt x="159246" y="250813"/>
                </a:cubicBezTo>
                <a:cubicBezTo>
                  <a:pt x="78296" y="329109"/>
                  <a:pt x="35830" y="425983"/>
                  <a:pt x="31849" y="541437"/>
                </a:cubicBezTo>
                <a:lnTo>
                  <a:pt x="99528" y="541437"/>
                </a:lnTo>
                <a:lnTo>
                  <a:pt x="99528" y="573286"/>
                </a:lnTo>
                <a:lnTo>
                  <a:pt x="31849" y="573286"/>
                </a:lnTo>
                <a:cubicBezTo>
                  <a:pt x="35830" y="688740"/>
                  <a:pt x="78296" y="785614"/>
                  <a:pt x="159246" y="863910"/>
                </a:cubicBezTo>
                <a:cubicBezTo>
                  <a:pt x="237542" y="944860"/>
                  <a:pt x="334416" y="987326"/>
                  <a:pt x="449870" y="991307"/>
                </a:cubicBezTo>
                <a:lnTo>
                  <a:pt x="449870" y="923627"/>
                </a:lnTo>
                <a:lnTo>
                  <a:pt x="481719" y="923627"/>
                </a:lnTo>
                <a:lnTo>
                  <a:pt x="481719" y="991307"/>
                </a:lnTo>
                <a:cubicBezTo>
                  <a:pt x="597173" y="987326"/>
                  <a:pt x="694047" y="944860"/>
                  <a:pt x="772343" y="863910"/>
                </a:cubicBezTo>
                <a:cubicBezTo>
                  <a:pt x="853293" y="785614"/>
                  <a:pt x="895759" y="688740"/>
                  <a:pt x="899740" y="573286"/>
                </a:cubicBezTo>
                <a:lnTo>
                  <a:pt x="832061" y="573286"/>
                </a:lnTo>
                <a:lnTo>
                  <a:pt x="832061" y="541437"/>
                </a:lnTo>
                <a:lnTo>
                  <a:pt x="899740" y="541437"/>
                </a:lnTo>
                <a:cubicBezTo>
                  <a:pt x="895759" y="425983"/>
                  <a:pt x="853293" y="329109"/>
                  <a:pt x="772343" y="250813"/>
                </a:cubicBezTo>
                <a:cubicBezTo>
                  <a:pt x="694047" y="169863"/>
                  <a:pt x="597173" y="127397"/>
                  <a:pt x="481719" y="123416"/>
                </a:cubicBezTo>
                <a:lnTo>
                  <a:pt x="481719" y="191095"/>
                </a:lnTo>
                <a:lnTo>
                  <a:pt x="449870" y="191095"/>
                </a:lnTo>
                <a:close/>
                <a:moveTo>
                  <a:pt x="465794" y="31849"/>
                </a:moveTo>
                <a:cubicBezTo>
                  <a:pt x="447216" y="31849"/>
                  <a:pt x="431955" y="37821"/>
                  <a:pt x="420011" y="49765"/>
                </a:cubicBezTo>
                <a:cubicBezTo>
                  <a:pt x="408068" y="61708"/>
                  <a:pt x="402096" y="76969"/>
                  <a:pt x="402096" y="95548"/>
                </a:cubicBezTo>
                <a:cubicBezTo>
                  <a:pt x="416694" y="92894"/>
                  <a:pt x="437926" y="91567"/>
                  <a:pt x="465794" y="91567"/>
                </a:cubicBezTo>
                <a:cubicBezTo>
                  <a:pt x="493663" y="91567"/>
                  <a:pt x="514895" y="92894"/>
                  <a:pt x="529493" y="95548"/>
                </a:cubicBezTo>
                <a:cubicBezTo>
                  <a:pt x="529493" y="76969"/>
                  <a:pt x="523521" y="61708"/>
                  <a:pt x="511578" y="49765"/>
                </a:cubicBezTo>
                <a:cubicBezTo>
                  <a:pt x="499634" y="37821"/>
                  <a:pt x="484373" y="31849"/>
                  <a:pt x="465794" y="31849"/>
                </a:cubicBezTo>
                <a:close/>
                <a:moveTo>
                  <a:pt x="465794" y="0"/>
                </a:moveTo>
                <a:cubicBezTo>
                  <a:pt x="492336" y="0"/>
                  <a:pt x="514895" y="9289"/>
                  <a:pt x="533474" y="27868"/>
                </a:cubicBezTo>
                <a:cubicBezTo>
                  <a:pt x="552053" y="46447"/>
                  <a:pt x="561342" y="69007"/>
                  <a:pt x="561342" y="95548"/>
                </a:cubicBezTo>
                <a:lnTo>
                  <a:pt x="561342" y="101520"/>
                </a:lnTo>
                <a:cubicBezTo>
                  <a:pt x="650255" y="120098"/>
                  <a:pt x="728551" y="161900"/>
                  <a:pt x="796230" y="226926"/>
                </a:cubicBezTo>
                <a:cubicBezTo>
                  <a:pt x="886470" y="319819"/>
                  <a:pt x="931589" y="429965"/>
                  <a:pt x="931589" y="557361"/>
                </a:cubicBezTo>
                <a:cubicBezTo>
                  <a:pt x="931589" y="684758"/>
                  <a:pt x="886470" y="794904"/>
                  <a:pt x="796230" y="887797"/>
                </a:cubicBezTo>
                <a:cubicBezTo>
                  <a:pt x="703337" y="978037"/>
                  <a:pt x="593191" y="1023156"/>
                  <a:pt x="465794" y="1023156"/>
                </a:cubicBezTo>
                <a:cubicBezTo>
                  <a:pt x="338398" y="1023156"/>
                  <a:pt x="228252" y="978037"/>
                  <a:pt x="135359" y="887797"/>
                </a:cubicBezTo>
                <a:cubicBezTo>
                  <a:pt x="45119" y="794904"/>
                  <a:pt x="0" y="684758"/>
                  <a:pt x="0" y="557361"/>
                </a:cubicBezTo>
                <a:cubicBezTo>
                  <a:pt x="0" y="429965"/>
                  <a:pt x="45119" y="319819"/>
                  <a:pt x="135359" y="226926"/>
                </a:cubicBezTo>
                <a:cubicBezTo>
                  <a:pt x="203038" y="161900"/>
                  <a:pt x="281334" y="120098"/>
                  <a:pt x="370247" y="101520"/>
                </a:cubicBezTo>
                <a:lnTo>
                  <a:pt x="370247" y="95548"/>
                </a:lnTo>
                <a:cubicBezTo>
                  <a:pt x="370247" y="69007"/>
                  <a:pt x="379536" y="46447"/>
                  <a:pt x="398115" y="27868"/>
                </a:cubicBezTo>
                <a:cubicBezTo>
                  <a:pt x="416694" y="9289"/>
                  <a:pt x="439254" y="0"/>
                  <a:pt x="4657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reeform 27"/>
          <p:cNvSpPr>
            <a:spLocks/>
          </p:cNvSpPr>
          <p:nvPr/>
        </p:nvSpPr>
        <p:spPr bwMode="auto">
          <a:xfrm>
            <a:off x="10133695" y="5171065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solidFill>
            <a:schemeClr val="bg1"/>
          </a:solidFill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57"/>
          <p:cNvSpPr>
            <a:spLocks/>
          </p:cNvSpPr>
          <p:nvPr/>
        </p:nvSpPr>
        <p:spPr bwMode="auto">
          <a:xfrm>
            <a:off x="8333180" y="5171065"/>
            <a:ext cx="715963" cy="715963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solidFill>
            <a:srgbClr val="FFFFFF"/>
          </a:solidFill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0"/>
          <p:cNvSpPr>
            <a:spLocks/>
          </p:cNvSpPr>
          <p:nvPr/>
        </p:nvSpPr>
        <p:spPr bwMode="auto">
          <a:xfrm>
            <a:off x="4735322" y="5163922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solidFill>
            <a:srgbClr val="FFFFFF"/>
          </a:solidFill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81"/>
          <p:cNvSpPr/>
          <p:nvPr/>
        </p:nvSpPr>
        <p:spPr>
          <a:xfrm>
            <a:off x="4844201" y="5287081"/>
            <a:ext cx="519329" cy="446299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Freeform 79"/>
          <p:cNvSpPr/>
          <p:nvPr/>
        </p:nvSpPr>
        <p:spPr>
          <a:xfrm>
            <a:off x="8482500" y="5329829"/>
            <a:ext cx="425192" cy="425192"/>
          </a:xfrm>
          <a:custGeom>
            <a:avLst/>
            <a:gdLst/>
            <a:ahLst/>
            <a:cxnLst/>
            <a:rect l="l" t="t" r="r" b="b"/>
            <a:pathLst>
              <a:path w="1019175" h="1019175">
                <a:moveTo>
                  <a:pt x="429965" y="752438"/>
                </a:moveTo>
                <a:lnTo>
                  <a:pt x="429965" y="981354"/>
                </a:lnTo>
                <a:cubicBezTo>
                  <a:pt x="456506" y="985335"/>
                  <a:pt x="483047" y="987326"/>
                  <a:pt x="509588" y="987326"/>
                </a:cubicBezTo>
                <a:cubicBezTo>
                  <a:pt x="536129" y="987326"/>
                  <a:pt x="562670" y="985335"/>
                  <a:pt x="589211" y="981354"/>
                </a:cubicBezTo>
                <a:lnTo>
                  <a:pt x="589211" y="752438"/>
                </a:lnTo>
                <a:cubicBezTo>
                  <a:pt x="562670" y="760400"/>
                  <a:pt x="536129" y="764381"/>
                  <a:pt x="509588" y="764381"/>
                </a:cubicBezTo>
                <a:cubicBezTo>
                  <a:pt x="481720" y="764381"/>
                  <a:pt x="455179" y="760400"/>
                  <a:pt x="429965" y="752438"/>
                </a:cubicBezTo>
                <a:close/>
                <a:moveTo>
                  <a:pt x="738504" y="621060"/>
                </a:moveTo>
                <a:cubicBezTo>
                  <a:pt x="711963" y="672815"/>
                  <a:pt x="672815" y="711963"/>
                  <a:pt x="621060" y="738504"/>
                </a:cubicBezTo>
                <a:lnTo>
                  <a:pt x="621060" y="973392"/>
                </a:lnTo>
                <a:cubicBezTo>
                  <a:pt x="707318" y="952159"/>
                  <a:pt x="782297" y="909693"/>
                  <a:pt x="845995" y="845995"/>
                </a:cubicBezTo>
                <a:cubicBezTo>
                  <a:pt x="909694" y="782297"/>
                  <a:pt x="952159" y="707318"/>
                  <a:pt x="973392" y="621060"/>
                </a:cubicBezTo>
                <a:close/>
                <a:moveTo>
                  <a:pt x="45784" y="621060"/>
                </a:moveTo>
                <a:cubicBezTo>
                  <a:pt x="67016" y="707318"/>
                  <a:pt x="109482" y="782297"/>
                  <a:pt x="173180" y="845995"/>
                </a:cubicBezTo>
                <a:cubicBezTo>
                  <a:pt x="236879" y="909693"/>
                  <a:pt x="311857" y="952159"/>
                  <a:pt x="398115" y="973392"/>
                </a:cubicBezTo>
                <a:lnTo>
                  <a:pt x="398115" y="738504"/>
                </a:lnTo>
                <a:cubicBezTo>
                  <a:pt x="346360" y="711963"/>
                  <a:pt x="307212" y="672815"/>
                  <a:pt x="280672" y="621060"/>
                </a:cubicBezTo>
                <a:close/>
                <a:moveTo>
                  <a:pt x="752438" y="429965"/>
                </a:moveTo>
                <a:cubicBezTo>
                  <a:pt x="760400" y="456506"/>
                  <a:pt x="764382" y="483047"/>
                  <a:pt x="764382" y="509588"/>
                </a:cubicBezTo>
                <a:cubicBezTo>
                  <a:pt x="764382" y="537456"/>
                  <a:pt x="760400" y="563997"/>
                  <a:pt x="752438" y="589211"/>
                </a:cubicBezTo>
                <a:lnTo>
                  <a:pt x="981354" y="589211"/>
                </a:lnTo>
                <a:cubicBezTo>
                  <a:pt x="985335" y="562670"/>
                  <a:pt x="987326" y="536129"/>
                  <a:pt x="987326" y="509588"/>
                </a:cubicBezTo>
                <a:cubicBezTo>
                  <a:pt x="987326" y="481720"/>
                  <a:pt x="985335" y="455179"/>
                  <a:pt x="981354" y="429965"/>
                </a:cubicBezTo>
                <a:close/>
                <a:moveTo>
                  <a:pt x="37821" y="429965"/>
                </a:moveTo>
                <a:cubicBezTo>
                  <a:pt x="33840" y="456506"/>
                  <a:pt x="31849" y="483047"/>
                  <a:pt x="31849" y="509588"/>
                </a:cubicBezTo>
                <a:cubicBezTo>
                  <a:pt x="31849" y="536129"/>
                  <a:pt x="33840" y="562670"/>
                  <a:pt x="37821" y="589211"/>
                </a:cubicBezTo>
                <a:lnTo>
                  <a:pt x="266737" y="589211"/>
                </a:lnTo>
                <a:cubicBezTo>
                  <a:pt x="258775" y="562670"/>
                  <a:pt x="254794" y="536129"/>
                  <a:pt x="254794" y="509588"/>
                </a:cubicBezTo>
                <a:cubicBezTo>
                  <a:pt x="254794" y="483047"/>
                  <a:pt x="258775" y="456506"/>
                  <a:pt x="266737" y="429965"/>
                </a:cubicBezTo>
                <a:close/>
                <a:moveTo>
                  <a:pt x="509588" y="286643"/>
                </a:moveTo>
                <a:cubicBezTo>
                  <a:pt x="448543" y="286643"/>
                  <a:pt x="396125" y="308539"/>
                  <a:pt x="352332" y="352332"/>
                </a:cubicBezTo>
                <a:cubicBezTo>
                  <a:pt x="308540" y="396125"/>
                  <a:pt x="286643" y="448543"/>
                  <a:pt x="286643" y="509588"/>
                </a:cubicBezTo>
                <a:cubicBezTo>
                  <a:pt x="286643" y="570632"/>
                  <a:pt x="308540" y="623051"/>
                  <a:pt x="352332" y="666843"/>
                </a:cubicBezTo>
                <a:cubicBezTo>
                  <a:pt x="396125" y="710636"/>
                  <a:pt x="448543" y="732532"/>
                  <a:pt x="509588" y="732532"/>
                </a:cubicBezTo>
                <a:cubicBezTo>
                  <a:pt x="570632" y="732532"/>
                  <a:pt x="623051" y="710636"/>
                  <a:pt x="666843" y="666843"/>
                </a:cubicBezTo>
                <a:cubicBezTo>
                  <a:pt x="710636" y="623051"/>
                  <a:pt x="732532" y="570632"/>
                  <a:pt x="732532" y="509588"/>
                </a:cubicBezTo>
                <a:cubicBezTo>
                  <a:pt x="732532" y="448543"/>
                  <a:pt x="710636" y="396125"/>
                  <a:pt x="666843" y="352332"/>
                </a:cubicBezTo>
                <a:cubicBezTo>
                  <a:pt x="623051" y="308539"/>
                  <a:pt x="570632" y="286643"/>
                  <a:pt x="509588" y="286643"/>
                </a:cubicBezTo>
                <a:close/>
                <a:moveTo>
                  <a:pt x="621060" y="45783"/>
                </a:moveTo>
                <a:lnTo>
                  <a:pt x="621060" y="280671"/>
                </a:lnTo>
                <a:cubicBezTo>
                  <a:pt x="672815" y="307212"/>
                  <a:pt x="711963" y="346360"/>
                  <a:pt x="738504" y="398115"/>
                </a:cubicBezTo>
                <a:lnTo>
                  <a:pt x="973392" y="398115"/>
                </a:lnTo>
                <a:cubicBezTo>
                  <a:pt x="952159" y="311857"/>
                  <a:pt x="909694" y="236879"/>
                  <a:pt x="845995" y="173180"/>
                </a:cubicBezTo>
                <a:cubicBezTo>
                  <a:pt x="782297" y="109482"/>
                  <a:pt x="707318" y="67016"/>
                  <a:pt x="621060" y="45783"/>
                </a:cubicBezTo>
                <a:close/>
                <a:moveTo>
                  <a:pt x="398115" y="45783"/>
                </a:moveTo>
                <a:cubicBezTo>
                  <a:pt x="311857" y="67016"/>
                  <a:pt x="236879" y="109482"/>
                  <a:pt x="173180" y="173180"/>
                </a:cubicBezTo>
                <a:cubicBezTo>
                  <a:pt x="109482" y="236879"/>
                  <a:pt x="67016" y="311857"/>
                  <a:pt x="45784" y="398115"/>
                </a:cubicBezTo>
                <a:lnTo>
                  <a:pt x="280672" y="398115"/>
                </a:lnTo>
                <a:cubicBezTo>
                  <a:pt x="307212" y="346360"/>
                  <a:pt x="346360" y="307212"/>
                  <a:pt x="398115" y="280671"/>
                </a:cubicBezTo>
                <a:close/>
                <a:moveTo>
                  <a:pt x="509588" y="31849"/>
                </a:moveTo>
                <a:cubicBezTo>
                  <a:pt x="481720" y="31849"/>
                  <a:pt x="455179" y="33840"/>
                  <a:pt x="429965" y="37821"/>
                </a:cubicBezTo>
                <a:lnTo>
                  <a:pt x="429965" y="266737"/>
                </a:lnTo>
                <a:cubicBezTo>
                  <a:pt x="456506" y="258775"/>
                  <a:pt x="483047" y="254794"/>
                  <a:pt x="509588" y="254794"/>
                </a:cubicBezTo>
                <a:cubicBezTo>
                  <a:pt x="537456" y="254794"/>
                  <a:pt x="563997" y="258775"/>
                  <a:pt x="589211" y="266737"/>
                </a:cubicBezTo>
                <a:lnTo>
                  <a:pt x="589211" y="37821"/>
                </a:lnTo>
                <a:cubicBezTo>
                  <a:pt x="562670" y="33840"/>
                  <a:pt x="536129" y="31849"/>
                  <a:pt x="509588" y="31849"/>
                </a:cubicBezTo>
                <a:close/>
                <a:moveTo>
                  <a:pt x="509588" y="0"/>
                </a:moveTo>
                <a:cubicBezTo>
                  <a:pt x="650255" y="0"/>
                  <a:pt x="770353" y="49765"/>
                  <a:pt x="869882" y="149293"/>
                </a:cubicBezTo>
                <a:cubicBezTo>
                  <a:pt x="969411" y="248822"/>
                  <a:pt x="1019175" y="368920"/>
                  <a:pt x="1019175" y="509588"/>
                </a:cubicBezTo>
                <a:cubicBezTo>
                  <a:pt x="1019175" y="650255"/>
                  <a:pt x="969411" y="770353"/>
                  <a:pt x="869882" y="869882"/>
                </a:cubicBezTo>
                <a:cubicBezTo>
                  <a:pt x="770353" y="969411"/>
                  <a:pt x="650255" y="1019175"/>
                  <a:pt x="509588" y="1019175"/>
                </a:cubicBezTo>
                <a:cubicBezTo>
                  <a:pt x="368920" y="1019175"/>
                  <a:pt x="248822" y="969411"/>
                  <a:pt x="149293" y="869882"/>
                </a:cubicBezTo>
                <a:cubicBezTo>
                  <a:pt x="49765" y="770353"/>
                  <a:pt x="0" y="650255"/>
                  <a:pt x="0" y="509588"/>
                </a:cubicBezTo>
                <a:cubicBezTo>
                  <a:pt x="0" y="368920"/>
                  <a:pt x="49765" y="248822"/>
                  <a:pt x="149293" y="149293"/>
                </a:cubicBezTo>
                <a:cubicBezTo>
                  <a:pt x="248822" y="49765"/>
                  <a:pt x="368920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Freeform 73"/>
          <p:cNvSpPr/>
          <p:nvPr/>
        </p:nvSpPr>
        <p:spPr>
          <a:xfrm>
            <a:off x="10237356" y="5309904"/>
            <a:ext cx="519329" cy="446299"/>
          </a:xfrm>
          <a:custGeom>
            <a:avLst/>
            <a:gdLst/>
            <a:ahLst/>
            <a:cxnLst/>
            <a:rect l="l" t="t" r="r" b="b"/>
            <a:pathLst>
              <a:path w="1019175" h="875854">
                <a:moveTo>
                  <a:pt x="461814" y="812155"/>
                </a:moveTo>
                <a:lnTo>
                  <a:pt x="461814" y="844005"/>
                </a:lnTo>
                <a:lnTo>
                  <a:pt x="557362" y="844005"/>
                </a:lnTo>
                <a:lnTo>
                  <a:pt x="557362" y="812155"/>
                </a:lnTo>
                <a:close/>
                <a:moveTo>
                  <a:pt x="828080" y="382191"/>
                </a:moveTo>
                <a:lnTo>
                  <a:pt x="828080" y="668834"/>
                </a:lnTo>
                <a:lnTo>
                  <a:pt x="844004" y="668834"/>
                </a:lnTo>
                <a:cubicBezTo>
                  <a:pt x="883816" y="668834"/>
                  <a:pt x="917656" y="654900"/>
                  <a:pt x="945524" y="627032"/>
                </a:cubicBezTo>
                <a:cubicBezTo>
                  <a:pt x="973392" y="599164"/>
                  <a:pt x="987326" y="565324"/>
                  <a:pt x="987326" y="525512"/>
                </a:cubicBezTo>
                <a:cubicBezTo>
                  <a:pt x="987326" y="485701"/>
                  <a:pt x="973392" y="451861"/>
                  <a:pt x="945524" y="423993"/>
                </a:cubicBezTo>
                <a:cubicBezTo>
                  <a:pt x="917656" y="396125"/>
                  <a:pt x="883816" y="382191"/>
                  <a:pt x="844004" y="382191"/>
                </a:cubicBezTo>
                <a:close/>
                <a:moveTo>
                  <a:pt x="175171" y="382191"/>
                </a:moveTo>
                <a:cubicBezTo>
                  <a:pt x="135359" y="382191"/>
                  <a:pt x="101519" y="396125"/>
                  <a:pt x="73651" y="423993"/>
                </a:cubicBezTo>
                <a:cubicBezTo>
                  <a:pt x="45783" y="451861"/>
                  <a:pt x="31849" y="485701"/>
                  <a:pt x="31849" y="525512"/>
                </a:cubicBezTo>
                <a:cubicBezTo>
                  <a:pt x="31849" y="565324"/>
                  <a:pt x="45783" y="599164"/>
                  <a:pt x="73651" y="627032"/>
                </a:cubicBezTo>
                <a:cubicBezTo>
                  <a:pt x="101519" y="654900"/>
                  <a:pt x="135359" y="668834"/>
                  <a:pt x="175171" y="668834"/>
                </a:cubicBezTo>
                <a:lnTo>
                  <a:pt x="191095" y="668834"/>
                </a:lnTo>
                <a:lnTo>
                  <a:pt x="191095" y="382191"/>
                </a:lnTo>
                <a:close/>
                <a:moveTo>
                  <a:pt x="509588" y="0"/>
                </a:moveTo>
                <a:cubicBezTo>
                  <a:pt x="567978" y="0"/>
                  <a:pt x="619069" y="9621"/>
                  <a:pt x="662862" y="28864"/>
                </a:cubicBezTo>
                <a:cubicBezTo>
                  <a:pt x="706655" y="48106"/>
                  <a:pt x="738504" y="69670"/>
                  <a:pt x="758410" y="93557"/>
                </a:cubicBezTo>
                <a:cubicBezTo>
                  <a:pt x="778315" y="117444"/>
                  <a:pt x="794240" y="144649"/>
                  <a:pt x="806184" y="175171"/>
                </a:cubicBezTo>
                <a:cubicBezTo>
                  <a:pt x="818127" y="205693"/>
                  <a:pt x="824762" y="227589"/>
                  <a:pt x="826089" y="240860"/>
                </a:cubicBezTo>
                <a:cubicBezTo>
                  <a:pt x="827416" y="254130"/>
                  <a:pt x="828080" y="264083"/>
                  <a:pt x="828080" y="270719"/>
                </a:cubicBezTo>
                <a:lnTo>
                  <a:pt x="828080" y="350342"/>
                </a:lnTo>
                <a:lnTo>
                  <a:pt x="844004" y="350342"/>
                </a:lnTo>
                <a:cubicBezTo>
                  <a:pt x="893105" y="350342"/>
                  <a:pt x="934576" y="367261"/>
                  <a:pt x="968416" y="401101"/>
                </a:cubicBezTo>
                <a:cubicBezTo>
                  <a:pt x="1002255" y="434941"/>
                  <a:pt x="1019175" y="476411"/>
                  <a:pt x="1019175" y="525512"/>
                </a:cubicBezTo>
                <a:cubicBezTo>
                  <a:pt x="1019175" y="574613"/>
                  <a:pt x="1002255" y="616084"/>
                  <a:pt x="968416" y="649923"/>
                </a:cubicBezTo>
                <a:cubicBezTo>
                  <a:pt x="934576" y="683763"/>
                  <a:pt x="893105" y="700683"/>
                  <a:pt x="844004" y="700683"/>
                </a:cubicBezTo>
                <a:lnTo>
                  <a:pt x="828080" y="700683"/>
                </a:lnTo>
                <a:lnTo>
                  <a:pt x="828080" y="774334"/>
                </a:lnTo>
                <a:lnTo>
                  <a:pt x="577267" y="875854"/>
                </a:lnTo>
                <a:lnTo>
                  <a:pt x="429965" y="875854"/>
                </a:lnTo>
                <a:lnTo>
                  <a:pt x="429965" y="780306"/>
                </a:lnTo>
                <a:lnTo>
                  <a:pt x="589211" y="780306"/>
                </a:lnTo>
                <a:lnTo>
                  <a:pt x="589211" y="836042"/>
                </a:lnTo>
                <a:lnTo>
                  <a:pt x="796231" y="754429"/>
                </a:lnTo>
                <a:lnTo>
                  <a:pt x="796231" y="270719"/>
                </a:lnTo>
                <a:cubicBezTo>
                  <a:pt x="796231" y="262756"/>
                  <a:pt x="795567" y="252803"/>
                  <a:pt x="794240" y="240860"/>
                </a:cubicBezTo>
                <a:cubicBezTo>
                  <a:pt x="792913" y="228916"/>
                  <a:pt x="786941" y="209674"/>
                  <a:pt x="776325" y="183133"/>
                </a:cubicBezTo>
                <a:cubicBezTo>
                  <a:pt x="765708" y="156592"/>
                  <a:pt x="751443" y="133037"/>
                  <a:pt x="733528" y="112468"/>
                </a:cubicBezTo>
                <a:cubicBezTo>
                  <a:pt x="715612" y="91898"/>
                  <a:pt x="687081" y="73320"/>
                  <a:pt x="647933" y="56732"/>
                </a:cubicBezTo>
                <a:cubicBezTo>
                  <a:pt x="608785" y="40143"/>
                  <a:pt x="562670" y="31849"/>
                  <a:pt x="509588" y="31849"/>
                </a:cubicBezTo>
                <a:cubicBezTo>
                  <a:pt x="456506" y="31849"/>
                  <a:pt x="410391" y="40143"/>
                  <a:pt x="371243" y="56732"/>
                </a:cubicBezTo>
                <a:cubicBezTo>
                  <a:pt x="332095" y="73320"/>
                  <a:pt x="303563" y="91898"/>
                  <a:pt x="285648" y="112468"/>
                </a:cubicBezTo>
                <a:cubicBezTo>
                  <a:pt x="267733" y="133037"/>
                  <a:pt x="253467" y="156592"/>
                  <a:pt x="242850" y="183133"/>
                </a:cubicBezTo>
                <a:cubicBezTo>
                  <a:pt x="232234" y="209674"/>
                  <a:pt x="226262" y="228916"/>
                  <a:pt x="224935" y="240860"/>
                </a:cubicBezTo>
                <a:cubicBezTo>
                  <a:pt x="223608" y="252803"/>
                  <a:pt x="222945" y="262756"/>
                  <a:pt x="222945" y="270719"/>
                </a:cubicBezTo>
                <a:lnTo>
                  <a:pt x="222945" y="700683"/>
                </a:lnTo>
                <a:lnTo>
                  <a:pt x="175171" y="700683"/>
                </a:lnTo>
                <a:cubicBezTo>
                  <a:pt x="126070" y="700683"/>
                  <a:pt x="84600" y="683763"/>
                  <a:pt x="50760" y="649923"/>
                </a:cubicBezTo>
                <a:cubicBezTo>
                  <a:pt x="16920" y="616084"/>
                  <a:pt x="0" y="574613"/>
                  <a:pt x="0" y="525512"/>
                </a:cubicBezTo>
                <a:cubicBezTo>
                  <a:pt x="0" y="476411"/>
                  <a:pt x="16920" y="434941"/>
                  <a:pt x="50760" y="401101"/>
                </a:cubicBezTo>
                <a:cubicBezTo>
                  <a:pt x="84600" y="367261"/>
                  <a:pt x="126070" y="350342"/>
                  <a:pt x="175171" y="350342"/>
                </a:cubicBezTo>
                <a:lnTo>
                  <a:pt x="191095" y="350342"/>
                </a:lnTo>
                <a:lnTo>
                  <a:pt x="191095" y="270719"/>
                </a:lnTo>
                <a:cubicBezTo>
                  <a:pt x="191095" y="264083"/>
                  <a:pt x="191759" y="254130"/>
                  <a:pt x="193086" y="240860"/>
                </a:cubicBezTo>
                <a:cubicBezTo>
                  <a:pt x="194413" y="227589"/>
                  <a:pt x="201048" y="205693"/>
                  <a:pt x="212992" y="175171"/>
                </a:cubicBezTo>
                <a:cubicBezTo>
                  <a:pt x="224935" y="144649"/>
                  <a:pt x="240860" y="117444"/>
                  <a:pt x="260766" y="93557"/>
                </a:cubicBezTo>
                <a:cubicBezTo>
                  <a:pt x="280671" y="69670"/>
                  <a:pt x="312521" y="48106"/>
                  <a:pt x="356313" y="28864"/>
                </a:cubicBezTo>
                <a:cubicBezTo>
                  <a:pt x="400106" y="9621"/>
                  <a:pt x="451197" y="0"/>
                  <a:pt x="5095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79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Rectangle 126"/>
          <p:cNvSpPr/>
          <p:nvPr/>
        </p:nvSpPr>
        <p:spPr>
          <a:xfrm>
            <a:off x="8565185" y="3132016"/>
            <a:ext cx="2149036" cy="7159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/>
          <p:cNvSpPr/>
          <p:nvPr/>
        </p:nvSpPr>
        <p:spPr>
          <a:xfrm>
            <a:off x="8565185" y="4160542"/>
            <a:ext cx="2149036" cy="7159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/>
          <p:cNvSpPr/>
          <p:nvPr/>
        </p:nvSpPr>
        <p:spPr>
          <a:xfrm>
            <a:off x="8565185" y="2101880"/>
            <a:ext cx="2149036" cy="7159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4510839" y="2101880"/>
            <a:ext cx="3970916" cy="715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4510839" y="3132016"/>
            <a:ext cx="3970916" cy="715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4510839" y="4160542"/>
            <a:ext cx="3970916" cy="715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10325912" y="3128840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 flipH="1">
            <a:off x="10325912" y="4157388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977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Straight Connector 20"/>
          <p:cNvCxnSpPr>
            <a:stCxn id="17" idx="2"/>
          </p:cNvCxnSpPr>
          <p:nvPr/>
        </p:nvCxnSpPr>
        <p:spPr>
          <a:xfrm flipV="1">
            <a:off x="10325913" y="2459861"/>
            <a:ext cx="1866087" cy="79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reeform 10"/>
          <p:cNvSpPr>
            <a:spLocks/>
          </p:cNvSpPr>
          <p:nvPr/>
        </p:nvSpPr>
        <p:spPr bwMode="auto">
          <a:xfrm flipH="1">
            <a:off x="10325913" y="4148433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23" name="Straight Connector 22"/>
          <p:cNvCxnSpPr/>
          <p:nvPr/>
        </p:nvCxnSpPr>
        <p:spPr>
          <a:xfrm flipV="1">
            <a:off x="11040288" y="4506414"/>
            <a:ext cx="1151712" cy="79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eform 36">
            <a:hlinkClick r:id="rId7"/>
          </p:cNvPr>
          <p:cNvSpPr>
            <a:spLocks/>
          </p:cNvSpPr>
          <p:nvPr/>
        </p:nvSpPr>
        <p:spPr bwMode="auto">
          <a:xfrm>
            <a:off x="10470218" y="4333668"/>
            <a:ext cx="425764" cy="345492"/>
          </a:xfrm>
          <a:custGeom>
            <a:avLst/>
            <a:gdLst>
              <a:gd name="T0" fmla="*/ 3173 w 4343"/>
              <a:gd name="T1" fmla="*/ 16 h 3525"/>
              <a:gd name="T2" fmla="*/ 3404 w 4343"/>
              <a:gd name="T3" fmla="*/ 92 h 3525"/>
              <a:gd name="T4" fmla="*/ 3600 w 4343"/>
              <a:gd name="T5" fmla="*/ 227 h 3525"/>
              <a:gd name="T6" fmla="*/ 3856 w 4343"/>
              <a:gd name="T7" fmla="*/ 231 h 3525"/>
              <a:gd name="T8" fmla="*/ 4135 w 4343"/>
              <a:gd name="T9" fmla="*/ 113 h 3525"/>
              <a:gd name="T10" fmla="*/ 4160 w 4343"/>
              <a:gd name="T11" fmla="*/ 215 h 3525"/>
              <a:gd name="T12" fmla="*/ 4018 w 4343"/>
              <a:gd name="T13" fmla="*/ 408 h 3525"/>
              <a:gd name="T14" fmla="*/ 3831 w 4343"/>
              <a:gd name="T15" fmla="*/ 558 h 3525"/>
              <a:gd name="T16" fmla="*/ 4145 w 4343"/>
              <a:gd name="T17" fmla="*/ 491 h 3525"/>
              <a:gd name="T18" fmla="*/ 4280 w 4343"/>
              <a:gd name="T19" fmla="*/ 504 h 3525"/>
              <a:gd name="T20" fmla="*/ 4064 w 4343"/>
              <a:gd name="T21" fmla="*/ 742 h 3525"/>
              <a:gd name="T22" fmla="*/ 3900 w 4343"/>
              <a:gd name="T23" fmla="*/ 994 h 3525"/>
              <a:gd name="T24" fmla="*/ 3881 w 4343"/>
              <a:gd name="T25" fmla="*/ 1299 h 3525"/>
              <a:gd name="T26" fmla="*/ 3823 w 4343"/>
              <a:gd name="T27" fmla="*/ 1607 h 3525"/>
              <a:gd name="T28" fmla="*/ 3725 w 4343"/>
              <a:gd name="T29" fmla="*/ 1910 h 3525"/>
              <a:gd name="T30" fmla="*/ 3591 w 4343"/>
              <a:gd name="T31" fmla="*/ 2204 h 3525"/>
              <a:gd name="T32" fmla="*/ 3420 w 4343"/>
              <a:gd name="T33" fmla="*/ 2483 h 3525"/>
              <a:gd name="T34" fmla="*/ 3210 w 4343"/>
              <a:gd name="T35" fmla="*/ 2741 h 3525"/>
              <a:gd name="T36" fmla="*/ 2966 w 4343"/>
              <a:gd name="T37" fmla="*/ 2973 h 3525"/>
              <a:gd name="T38" fmla="*/ 2686 w 4343"/>
              <a:gd name="T39" fmla="*/ 3172 h 3525"/>
              <a:gd name="T40" fmla="*/ 2371 w 4343"/>
              <a:gd name="T41" fmla="*/ 3331 h 3525"/>
              <a:gd name="T42" fmla="*/ 2022 w 4343"/>
              <a:gd name="T43" fmla="*/ 3447 h 3525"/>
              <a:gd name="T44" fmla="*/ 1640 w 4343"/>
              <a:gd name="T45" fmla="*/ 3512 h 3525"/>
              <a:gd name="T46" fmla="*/ 1229 w 4343"/>
              <a:gd name="T47" fmla="*/ 3522 h 3525"/>
              <a:gd name="T48" fmla="*/ 833 w 4343"/>
              <a:gd name="T49" fmla="*/ 3469 h 3525"/>
              <a:gd name="T50" fmla="*/ 457 w 4343"/>
              <a:gd name="T51" fmla="*/ 3357 h 3525"/>
              <a:gd name="T52" fmla="*/ 109 w 4343"/>
              <a:gd name="T53" fmla="*/ 3193 h 3525"/>
              <a:gd name="T54" fmla="*/ 212 w 4343"/>
              <a:gd name="T55" fmla="*/ 3139 h 3525"/>
              <a:gd name="T56" fmla="*/ 545 w 4343"/>
              <a:gd name="T57" fmla="*/ 3107 h 3525"/>
              <a:gd name="T58" fmla="*/ 859 w 4343"/>
              <a:gd name="T59" fmla="*/ 3019 h 3525"/>
              <a:gd name="T60" fmla="*/ 1145 w 4343"/>
              <a:gd name="T61" fmla="*/ 2878 h 3525"/>
              <a:gd name="T62" fmla="*/ 1237 w 4343"/>
              <a:gd name="T63" fmla="*/ 2752 h 3525"/>
              <a:gd name="T64" fmla="*/ 1004 w 4343"/>
              <a:gd name="T65" fmla="*/ 2694 h 3525"/>
              <a:gd name="T66" fmla="*/ 800 w 4343"/>
              <a:gd name="T67" fmla="*/ 2578 h 3525"/>
              <a:gd name="T68" fmla="*/ 634 w 4343"/>
              <a:gd name="T69" fmla="*/ 2415 h 3525"/>
              <a:gd name="T70" fmla="*/ 514 w 4343"/>
              <a:gd name="T71" fmla="*/ 2214 h 3525"/>
              <a:gd name="T72" fmla="*/ 598 w 4343"/>
              <a:gd name="T73" fmla="*/ 2153 h 3525"/>
              <a:gd name="T74" fmla="*/ 813 w 4343"/>
              <a:gd name="T75" fmla="*/ 2141 h 3525"/>
              <a:gd name="T76" fmla="*/ 732 w 4343"/>
              <a:gd name="T77" fmla="*/ 2077 h 3525"/>
              <a:gd name="T78" fmla="*/ 523 w 4343"/>
              <a:gd name="T79" fmla="*/ 1957 h 3525"/>
              <a:gd name="T80" fmla="*/ 354 w 4343"/>
              <a:gd name="T81" fmla="*/ 1787 h 3525"/>
              <a:gd name="T82" fmla="*/ 236 w 4343"/>
              <a:gd name="T83" fmla="*/ 1577 h 3525"/>
              <a:gd name="T84" fmla="*/ 178 w 4343"/>
              <a:gd name="T85" fmla="*/ 1336 h 3525"/>
              <a:gd name="T86" fmla="*/ 236 w 4343"/>
              <a:gd name="T87" fmla="*/ 1271 h 3525"/>
              <a:gd name="T88" fmla="*/ 435 w 4343"/>
              <a:gd name="T89" fmla="*/ 1335 h 3525"/>
              <a:gd name="T90" fmla="*/ 515 w 4343"/>
              <a:gd name="T91" fmla="*/ 1306 h 3525"/>
              <a:gd name="T92" fmla="*/ 353 w 4343"/>
              <a:gd name="T93" fmla="*/ 1136 h 3525"/>
              <a:gd name="T94" fmla="*/ 241 w 4343"/>
              <a:gd name="T95" fmla="*/ 929 h 3525"/>
              <a:gd name="T96" fmla="*/ 186 w 4343"/>
              <a:gd name="T97" fmla="*/ 694 h 3525"/>
              <a:gd name="T98" fmla="*/ 196 w 4343"/>
              <a:gd name="T99" fmla="*/ 452 h 3525"/>
              <a:gd name="T100" fmla="*/ 267 w 4343"/>
              <a:gd name="T101" fmla="*/ 231 h 3525"/>
              <a:gd name="T102" fmla="*/ 477 w 4343"/>
              <a:gd name="T103" fmla="*/ 356 h 3525"/>
              <a:gd name="T104" fmla="*/ 773 w 4343"/>
              <a:gd name="T105" fmla="*/ 610 h 3525"/>
              <a:gd name="T106" fmla="*/ 1108 w 4343"/>
              <a:gd name="T107" fmla="*/ 816 h 3525"/>
              <a:gd name="T108" fmla="*/ 1473 w 4343"/>
              <a:gd name="T109" fmla="*/ 969 h 3525"/>
              <a:gd name="T110" fmla="*/ 1865 w 4343"/>
              <a:gd name="T111" fmla="*/ 1065 h 3525"/>
              <a:gd name="T112" fmla="*/ 2126 w 4343"/>
              <a:gd name="T113" fmla="*/ 1027 h 3525"/>
              <a:gd name="T114" fmla="*/ 2119 w 4343"/>
              <a:gd name="T115" fmla="*/ 804 h 3525"/>
              <a:gd name="T116" fmla="*/ 2177 w 4343"/>
              <a:gd name="T117" fmla="*/ 562 h 3525"/>
              <a:gd name="T118" fmla="*/ 2297 w 4343"/>
              <a:gd name="T119" fmla="*/ 352 h 3525"/>
              <a:gd name="T120" fmla="*/ 2467 w 4343"/>
              <a:gd name="T121" fmla="*/ 182 h 3525"/>
              <a:gd name="T122" fmla="*/ 2679 w 4343"/>
              <a:gd name="T123" fmla="*/ 62 h 3525"/>
              <a:gd name="T124" fmla="*/ 2920 w 4343"/>
              <a:gd name="T125" fmla="*/ 4 h 3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43" h="3525">
                <a:moveTo>
                  <a:pt x="3006" y="0"/>
                </a:moveTo>
                <a:lnTo>
                  <a:pt x="3092" y="4"/>
                </a:lnTo>
                <a:lnTo>
                  <a:pt x="3173" y="16"/>
                </a:lnTo>
                <a:lnTo>
                  <a:pt x="3254" y="35"/>
                </a:lnTo>
                <a:lnTo>
                  <a:pt x="3330" y="61"/>
                </a:lnTo>
                <a:lnTo>
                  <a:pt x="3404" y="92"/>
                </a:lnTo>
                <a:lnTo>
                  <a:pt x="3474" y="132"/>
                </a:lnTo>
                <a:lnTo>
                  <a:pt x="3540" y="175"/>
                </a:lnTo>
                <a:lnTo>
                  <a:pt x="3600" y="227"/>
                </a:lnTo>
                <a:lnTo>
                  <a:pt x="3657" y="281"/>
                </a:lnTo>
                <a:lnTo>
                  <a:pt x="3757" y="258"/>
                </a:lnTo>
                <a:lnTo>
                  <a:pt x="3856" y="231"/>
                </a:lnTo>
                <a:lnTo>
                  <a:pt x="3952" y="196"/>
                </a:lnTo>
                <a:lnTo>
                  <a:pt x="4045" y="158"/>
                </a:lnTo>
                <a:lnTo>
                  <a:pt x="4135" y="113"/>
                </a:lnTo>
                <a:lnTo>
                  <a:pt x="4223" y="65"/>
                </a:lnTo>
                <a:lnTo>
                  <a:pt x="4194" y="141"/>
                </a:lnTo>
                <a:lnTo>
                  <a:pt x="4160" y="215"/>
                </a:lnTo>
                <a:lnTo>
                  <a:pt x="4118" y="283"/>
                </a:lnTo>
                <a:lnTo>
                  <a:pt x="4070" y="348"/>
                </a:lnTo>
                <a:lnTo>
                  <a:pt x="4018" y="408"/>
                </a:lnTo>
                <a:lnTo>
                  <a:pt x="3961" y="463"/>
                </a:lnTo>
                <a:lnTo>
                  <a:pt x="3898" y="513"/>
                </a:lnTo>
                <a:lnTo>
                  <a:pt x="3831" y="558"/>
                </a:lnTo>
                <a:lnTo>
                  <a:pt x="3939" y="541"/>
                </a:lnTo>
                <a:lnTo>
                  <a:pt x="4043" y="519"/>
                </a:lnTo>
                <a:lnTo>
                  <a:pt x="4145" y="491"/>
                </a:lnTo>
                <a:lnTo>
                  <a:pt x="4246" y="457"/>
                </a:lnTo>
                <a:lnTo>
                  <a:pt x="4343" y="417"/>
                </a:lnTo>
                <a:lnTo>
                  <a:pt x="4280" y="504"/>
                </a:lnTo>
                <a:lnTo>
                  <a:pt x="4213" y="589"/>
                </a:lnTo>
                <a:lnTo>
                  <a:pt x="4142" y="667"/>
                </a:lnTo>
                <a:lnTo>
                  <a:pt x="4064" y="742"/>
                </a:lnTo>
                <a:lnTo>
                  <a:pt x="3983" y="814"/>
                </a:lnTo>
                <a:lnTo>
                  <a:pt x="3898" y="878"/>
                </a:lnTo>
                <a:lnTo>
                  <a:pt x="3900" y="994"/>
                </a:lnTo>
                <a:lnTo>
                  <a:pt x="3899" y="1095"/>
                </a:lnTo>
                <a:lnTo>
                  <a:pt x="3893" y="1196"/>
                </a:lnTo>
                <a:lnTo>
                  <a:pt x="3881" y="1299"/>
                </a:lnTo>
                <a:lnTo>
                  <a:pt x="3866" y="1402"/>
                </a:lnTo>
                <a:lnTo>
                  <a:pt x="3846" y="1504"/>
                </a:lnTo>
                <a:lnTo>
                  <a:pt x="3823" y="1607"/>
                </a:lnTo>
                <a:lnTo>
                  <a:pt x="3795" y="1708"/>
                </a:lnTo>
                <a:lnTo>
                  <a:pt x="3762" y="1810"/>
                </a:lnTo>
                <a:lnTo>
                  <a:pt x="3725" y="1910"/>
                </a:lnTo>
                <a:lnTo>
                  <a:pt x="3684" y="2010"/>
                </a:lnTo>
                <a:lnTo>
                  <a:pt x="3640" y="2108"/>
                </a:lnTo>
                <a:lnTo>
                  <a:pt x="3591" y="2204"/>
                </a:lnTo>
                <a:lnTo>
                  <a:pt x="3538" y="2299"/>
                </a:lnTo>
                <a:lnTo>
                  <a:pt x="3480" y="2393"/>
                </a:lnTo>
                <a:lnTo>
                  <a:pt x="3420" y="2483"/>
                </a:lnTo>
                <a:lnTo>
                  <a:pt x="3354" y="2573"/>
                </a:lnTo>
                <a:lnTo>
                  <a:pt x="3284" y="2658"/>
                </a:lnTo>
                <a:lnTo>
                  <a:pt x="3210" y="2741"/>
                </a:lnTo>
                <a:lnTo>
                  <a:pt x="3132" y="2821"/>
                </a:lnTo>
                <a:lnTo>
                  <a:pt x="3052" y="2899"/>
                </a:lnTo>
                <a:lnTo>
                  <a:pt x="2966" y="2973"/>
                </a:lnTo>
                <a:lnTo>
                  <a:pt x="2877" y="3043"/>
                </a:lnTo>
                <a:lnTo>
                  <a:pt x="2783" y="3110"/>
                </a:lnTo>
                <a:lnTo>
                  <a:pt x="2686" y="3172"/>
                </a:lnTo>
                <a:lnTo>
                  <a:pt x="2584" y="3229"/>
                </a:lnTo>
                <a:lnTo>
                  <a:pt x="2480" y="3282"/>
                </a:lnTo>
                <a:lnTo>
                  <a:pt x="2371" y="3331"/>
                </a:lnTo>
                <a:lnTo>
                  <a:pt x="2259" y="3375"/>
                </a:lnTo>
                <a:lnTo>
                  <a:pt x="2142" y="3414"/>
                </a:lnTo>
                <a:lnTo>
                  <a:pt x="2022" y="3447"/>
                </a:lnTo>
                <a:lnTo>
                  <a:pt x="1898" y="3474"/>
                </a:lnTo>
                <a:lnTo>
                  <a:pt x="1770" y="3497"/>
                </a:lnTo>
                <a:lnTo>
                  <a:pt x="1640" y="3512"/>
                </a:lnTo>
                <a:lnTo>
                  <a:pt x="1504" y="3523"/>
                </a:lnTo>
                <a:lnTo>
                  <a:pt x="1366" y="3525"/>
                </a:lnTo>
                <a:lnTo>
                  <a:pt x="1229" y="3522"/>
                </a:lnTo>
                <a:lnTo>
                  <a:pt x="1095" y="3511"/>
                </a:lnTo>
                <a:lnTo>
                  <a:pt x="963" y="3494"/>
                </a:lnTo>
                <a:lnTo>
                  <a:pt x="833" y="3469"/>
                </a:lnTo>
                <a:lnTo>
                  <a:pt x="705" y="3439"/>
                </a:lnTo>
                <a:lnTo>
                  <a:pt x="580" y="3400"/>
                </a:lnTo>
                <a:lnTo>
                  <a:pt x="457" y="3357"/>
                </a:lnTo>
                <a:lnTo>
                  <a:pt x="339" y="3308"/>
                </a:lnTo>
                <a:lnTo>
                  <a:pt x="223" y="3253"/>
                </a:lnTo>
                <a:lnTo>
                  <a:pt x="109" y="3193"/>
                </a:lnTo>
                <a:lnTo>
                  <a:pt x="0" y="3125"/>
                </a:lnTo>
                <a:lnTo>
                  <a:pt x="105" y="3135"/>
                </a:lnTo>
                <a:lnTo>
                  <a:pt x="212" y="3139"/>
                </a:lnTo>
                <a:lnTo>
                  <a:pt x="325" y="3135"/>
                </a:lnTo>
                <a:lnTo>
                  <a:pt x="436" y="3124"/>
                </a:lnTo>
                <a:lnTo>
                  <a:pt x="545" y="3107"/>
                </a:lnTo>
                <a:lnTo>
                  <a:pt x="652" y="3083"/>
                </a:lnTo>
                <a:lnTo>
                  <a:pt x="757" y="3054"/>
                </a:lnTo>
                <a:lnTo>
                  <a:pt x="859" y="3019"/>
                </a:lnTo>
                <a:lnTo>
                  <a:pt x="958" y="2977"/>
                </a:lnTo>
                <a:lnTo>
                  <a:pt x="1053" y="2929"/>
                </a:lnTo>
                <a:lnTo>
                  <a:pt x="1145" y="2878"/>
                </a:lnTo>
                <a:lnTo>
                  <a:pt x="1234" y="2820"/>
                </a:lnTo>
                <a:lnTo>
                  <a:pt x="1319" y="2757"/>
                </a:lnTo>
                <a:lnTo>
                  <a:pt x="1237" y="2752"/>
                </a:lnTo>
                <a:lnTo>
                  <a:pt x="1157" y="2739"/>
                </a:lnTo>
                <a:lnTo>
                  <a:pt x="1079" y="2720"/>
                </a:lnTo>
                <a:lnTo>
                  <a:pt x="1004" y="2694"/>
                </a:lnTo>
                <a:lnTo>
                  <a:pt x="931" y="2661"/>
                </a:lnTo>
                <a:lnTo>
                  <a:pt x="864" y="2623"/>
                </a:lnTo>
                <a:lnTo>
                  <a:pt x="800" y="2578"/>
                </a:lnTo>
                <a:lnTo>
                  <a:pt x="739" y="2528"/>
                </a:lnTo>
                <a:lnTo>
                  <a:pt x="684" y="2474"/>
                </a:lnTo>
                <a:lnTo>
                  <a:pt x="634" y="2415"/>
                </a:lnTo>
                <a:lnTo>
                  <a:pt x="588" y="2352"/>
                </a:lnTo>
                <a:lnTo>
                  <a:pt x="548" y="2285"/>
                </a:lnTo>
                <a:lnTo>
                  <a:pt x="514" y="2214"/>
                </a:lnTo>
                <a:lnTo>
                  <a:pt x="487" y="2139"/>
                </a:lnTo>
                <a:lnTo>
                  <a:pt x="541" y="2148"/>
                </a:lnTo>
                <a:lnTo>
                  <a:pt x="598" y="2153"/>
                </a:lnTo>
                <a:lnTo>
                  <a:pt x="655" y="2156"/>
                </a:lnTo>
                <a:lnTo>
                  <a:pt x="735" y="2152"/>
                </a:lnTo>
                <a:lnTo>
                  <a:pt x="813" y="2141"/>
                </a:lnTo>
                <a:lnTo>
                  <a:pt x="889" y="2124"/>
                </a:lnTo>
                <a:lnTo>
                  <a:pt x="809" y="2104"/>
                </a:lnTo>
                <a:lnTo>
                  <a:pt x="732" y="2077"/>
                </a:lnTo>
                <a:lnTo>
                  <a:pt x="659" y="2043"/>
                </a:lnTo>
                <a:lnTo>
                  <a:pt x="589" y="2003"/>
                </a:lnTo>
                <a:lnTo>
                  <a:pt x="523" y="1957"/>
                </a:lnTo>
                <a:lnTo>
                  <a:pt x="461" y="1906"/>
                </a:lnTo>
                <a:lnTo>
                  <a:pt x="406" y="1849"/>
                </a:lnTo>
                <a:lnTo>
                  <a:pt x="354" y="1787"/>
                </a:lnTo>
                <a:lnTo>
                  <a:pt x="308" y="1721"/>
                </a:lnTo>
                <a:lnTo>
                  <a:pt x="269" y="1650"/>
                </a:lnTo>
                <a:lnTo>
                  <a:pt x="236" y="1577"/>
                </a:lnTo>
                <a:lnTo>
                  <a:pt x="209" y="1499"/>
                </a:lnTo>
                <a:lnTo>
                  <a:pt x="190" y="1419"/>
                </a:lnTo>
                <a:lnTo>
                  <a:pt x="178" y="1336"/>
                </a:lnTo>
                <a:lnTo>
                  <a:pt x="174" y="1252"/>
                </a:lnTo>
                <a:lnTo>
                  <a:pt x="174" y="1240"/>
                </a:lnTo>
                <a:lnTo>
                  <a:pt x="236" y="1271"/>
                </a:lnTo>
                <a:lnTo>
                  <a:pt x="300" y="1298"/>
                </a:lnTo>
                <a:lnTo>
                  <a:pt x="366" y="1319"/>
                </a:lnTo>
                <a:lnTo>
                  <a:pt x="435" y="1335"/>
                </a:lnTo>
                <a:lnTo>
                  <a:pt x="506" y="1346"/>
                </a:lnTo>
                <a:lnTo>
                  <a:pt x="578" y="1352"/>
                </a:lnTo>
                <a:lnTo>
                  <a:pt x="515" y="1306"/>
                </a:lnTo>
                <a:lnTo>
                  <a:pt x="456" y="1253"/>
                </a:lnTo>
                <a:lnTo>
                  <a:pt x="402" y="1198"/>
                </a:lnTo>
                <a:lnTo>
                  <a:pt x="353" y="1136"/>
                </a:lnTo>
                <a:lnTo>
                  <a:pt x="310" y="1071"/>
                </a:lnTo>
                <a:lnTo>
                  <a:pt x="273" y="1002"/>
                </a:lnTo>
                <a:lnTo>
                  <a:pt x="241" y="929"/>
                </a:lnTo>
                <a:lnTo>
                  <a:pt x="215" y="853"/>
                </a:lnTo>
                <a:lnTo>
                  <a:pt x="196" y="775"/>
                </a:lnTo>
                <a:lnTo>
                  <a:pt x="186" y="694"/>
                </a:lnTo>
                <a:lnTo>
                  <a:pt x="182" y="611"/>
                </a:lnTo>
                <a:lnTo>
                  <a:pt x="186" y="529"/>
                </a:lnTo>
                <a:lnTo>
                  <a:pt x="196" y="452"/>
                </a:lnTo>
                <a:lnTo>
                  <a:pt x="213" y="375"/>
                </a:lnTo>
                <a:lnTo>
                  <a:pt x="237" y="302"/>
                </a:lnTo>
                <a:lnTo>
                  <a:pt x="267" y="231"/>
                </a:lnTo>
                <a:lnTo>
                  <a:pt x="303" y="163"/>
                </a:lnTo>
                <a:lnTo>
                  <a:pt x="387" y="262"/>
                </a:lnTo>
                <a:lnTo>
                  <a:pt x="477" y="356"/>
                </a:lnTo>
                <a:lnTo>
                  <a:pt x="572" y="445"/>
                </a:lnTo>
                <a:lnTo>
                  <a:pt x="670" y="531"/>
                </a:lnTo>
                <a:lnTo>
                  <a:pt x="773" y="610"/>
                </a:lnTo>
                <a:lnTo>
                  <a:pt x="881" y="685"/>
                </a:lnTo>
                <a:lnTo>
                  <a:pt x="993" y="753"/>
                </a:lnTo>
                <a:lnTo>
                  <a:pt x="1108" y="816"/>
                </a:lnTo>
                <a:lnTo>
                  <a:pt x="1226" y="873"/>
                </a:lnTo>
                <a:lnTo>
                  <a:pt x="1348" y="924"/>
                </a:lnTo>
                <a:lnTo>
                  <a:pt x="1473" y="969"/>
                </a:lnTo>
                <a:lnTo>
                  <a:pt x="1602" y="1008"/>
                </a:lnTo>
                <a:lnTo>
                  <a:pt x="1732" y="1040"/>
                </a:lnTo>
                <a:lnTo>
                  <a:pt x="1865" y="1065"/>
                </a:lnTo>
                <a:lnTo>
                  <a:pt x="2001" y="1082"/>
                </a:lnTo>
                <a:lnTo>
                  <a:pt x="2139" y="1092"/>
                </a:lnTo>
                <a:lnTo>
                  <a:pt x="2126" y="1027"/>
                </a:lnTo>
                <a:lnTo>
                  <a:pt x="2118" y="960"/>
                </a:lnTo>
                <a:lnTo>
                  <a:pt x="2116" y="890"/>
                </a:lnTo>
                <a:lnTo>
                  <a:pt x="2119" y="804"/>
                </a:lnTo>
                <a:lnTo>
                  <a:pt x="2131" y="721"/>
                </a:lnTo>
                <a:lnTo>
                  <a:pt x="2151" y="640"/>
                </a:lnTo>
                <a:lnTo>
                  <a:pt x="2177" y="562"/>
                </a:lnTo>
                <a:lnTo>
                  <a:pt x="2212" y="488"/>
                </a:lnTo>
                <a:lnTo>
                  <a:pt x="2251" y="417"/>
                </a:lnTo>
                <a:lnTo>
                  <a:pt x="2297" y="352"/>
                </a:lnTo>
                <a:lnTo>
                  <a:pt x="2349" y="290"/>
                </a:lnTo>
                <a:lnTo>
                  <a:pt x="2405" y="233"/>
                </a:lnTo>
                <a:lnTo>
                  <a:pt x="2467" y="182"/>
                </a:lnTo>
                <a:lnTo>
                  <a:pt x="2534" y="136"/>
                </a:lnTo>
                <a:lnTo>
                  <a:pt x="2604" y="96"/>
                </a:lnTo>
                <a:lnTo>
                  <a:pt x="2679" y="62"/>
                </a:lnTo>
                <a:lnTo>
                  <a:pt x="2757" y="36"/>
                </a:lnTo>
                <a:lnTo>
                  <a:pt x="2837" y="16"/>
                </a:lnTo>
                <a:lnTo>
                  <a:pt x="2920" y="4"/>
                </a:lnTo>
                <a:lnTo>
                  <a:pt x="3006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0"/>
          <p:cNvSpPr>
            <a:spLocks/>
          </p:cNvSpPr>
          <p:nvPr/>
        </p:nvSpPr>
        <p:spPr bwMode="auto">
          <a:xfrm flipH="1">
            <a:off x="10325913" y="3125157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11040288" y="3483138"/>
            <a:ext cx="1151712" cy="794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 54"/>
          <p:cNvSpPr>
            <a:spLocks/>
          </p:cNvSpPr>
          <p:nvPr/>
        </p:nvSpPr>
        <p:spPr bwMode="auto">
          <a:xfrm>
            <a:off x="10567871" y="3298474"/>
            <a:ext cx="199978" cy="369328"/>
          </a:xfrm>
          <a:custGeom>
            <a:avLst/>
            <a:gdLst>
              <a:gd name="T0" fmla="*/ 1921 w 1996"/>
              <a:gd name="T1" fmla="*/ 1 h 3691"/>
              <a:gd name="T2" fmla="*/ 1959 w 1996"/>
              <a:gd name="T3" fmla="*/ 11 h 3691"/>
              <a:gd name="T4" fmla="*/ 1985 w 1996"/>
              <a:gd name="T5" fmla="*/ 38 h 3691"/>
              <a:gd name="T6" fmla="*/ 1996 w 1996"/>
              <a:gd name="T7" fmla="*/ 76 h 3691"/>
              <a:gd name="T8" fmla="*/ 1993 w 1996"/>
              <a:gd name="T9" fmla="*/ 660 h 3691"/>
              <a:gd name="T10" fmla="*/ 1974 w 1996"/>
              <a:gd name="T11" fmla="*/ 693 h 3691"/>
              <a:gd name="T12" fmla="*/ 1941 w 1996"/>
              <a:gd name="T13" fmla="*/ 712 h 3691"/>
              <a:gd name="T14" fmla="*/ 1598 w 1996"/>
              <a:gd name="T15" fmla="*/ 714 h 3691"/>
              <a:gd name="T16" fmla="*/ 1513 w 1996"/>
              <a:gd name="T17" fmla="*/ 720 h 3691"/>
              <a:gd name="T18" fmla="*/ 1448 w 1996"/>
              <a:gd name="T19" fmla="*/ 736 h 3691"/>
              <a:gd name="T20" fmla="*/ 1401 w 1996"/>
              <a:gd name="T21" fmla="*/ 762 h 3691"/>
              <a:gd name="T22" fmla="*/ 1369 w 1996"/>
              <a:gd name="T23" fmla="*/ 799 h 3691"/>
              <a:gd name="T24" fmla="*/ 1349 w 1996"/>
              <a:gd name="T25" fmla="*/ 846 h 3691"/>
              <a:gd name="T26" fmla="*/ 1338 w 1996"/>
              <a:gd name="T27" fmla="*/ 904 h 3691"/>
              <a:gd name="T28" fmla="*/ 1335 w 1996"/>
              <a:gd name="T29" fmla="*/ 972 h 3691"/>
              <a:gd name="T30" fmla="*/ 1898 w 1996"/>
              <a:gd name="T31" fmla="*/ 1327 h 3691"/>
              <a:gd name="T32" fmla="*/ 1937 w 1996"/>
              <a:gd name="T33" fmla="*/ 1337 h 3691"/>
              <a:gd name="T34" fmla="*/ 1964 w 1996"/>
              <a:gd name="T35" fmla="*/ 1364 h 3691"/>
              <a:gd name="T36" fmla="*/ 1974 w 1996"/>
              <a:gd name="T37" fmla="*/ 1402 h 3691"/>
              <a:gd name="T38" fmla="*/ 1971 w 1996"/>
              <a:gd name="T39" fmla="*/ 2029 h 3691"/>
              <a:gd name="T40" fmla="*/ 1951 w 1996"/>
              <a:gd name="T41" fmla="*/ 2062 h 3691"/>
              <a:gd name="T42" fmla="*/ 1918 w 1996"/>
              <a:gd name="T43" fmla="*/ 2081 h 3691"/>
              <a:gd name="T44" fmla="*/ 1335 w 1996"/>
              <a:gd name="T45" fmla="*/ 2085 h 3691"/>
              <a:gd name="T46" fmla="*/ 1333 w 1996"/>
              <a:gd name="T47" fmla="*/ 3636 h 3691"/>
              <a:gd name="T48" fmla="*/ 1313 w 1996"/>
              <a:gd name="T49" fmla="*/ 3669 h 3691"/>
              <a:gd name="T50" fmla="*/ 1279 w 1996"/>
              <a:gd name="T51" fmla="*/ 3688 h 3691"/>
              <a:gd name="T52" fmla="*/ 631 w 1996"/>
              <a:gd name="T53" fmla="*/ 3691 h 3691"/>
              <a:gd name="T54" fmla="*/ 594 w 1996"/>
              <a:gd name="T55" fmla="*/ 3681 h 3691"/>
              <a:gd name="T56" fmla="*/ 566 w 1996"/>
              <a:gd name="T57" fmla="*/ 3654 h 3691"/>
              <a:gd name="T58" fmla="*/ 556 w 1996"/>
              <a:gd name="T59" fmla="*/ 3615 h 3691"/>
              <a:gd name="T60" fmla="*/ 75 w 1996"/>
              <a:gd name="T61" fmla="*/ 2085 h 3691"/>
              <a:gd name="T62" fmla="*/ 36 w 1996"/>
              <a:gd name="T63" fmla="*/ 2075 h 3691"/>
              <a:gd name="T64" fmla="*/ 10 w 1996"/>
              <a:gd name="T65" fmla="*/ 2047 h 3691"/>
              <a:gd name="T66" fmla="*/ 0 w 1996"/>
              <a:gd name="T67" fmla="*/ 2009 h 3691"/>
              <a:gd name="T68" fmla="*/ 2 w 1996"/>
              <a:gd name="T69" fmla="*/ 1383 h 3691"/>
              <a:gd name="T70" fmla="*/ 22 w 1996"/>
              <a:gd name="T71" fmla="*/ 1350 h 3691"/>
              <a:gd name="T72" fmla="*/ 54 w 1996"/>
              <a:gd name="T73" fmla="*/ 1330 h 3691"/>
              <a:gd name="T74" fmla="*/ 556 w 1996"/>
              <a:gd name="T75" fmla="*/ 1327 h 3691"/>
              <a:gd name="T76" fmla="*/ 558 w 1996"/>
              <a:gd name="T77" fmla="*/ 827 h 3691"/>
              <a:gd name="T78" fmla="*/ 579 w 1996"/>
              <a:gd name="T79" fmla="*/ 673 h 3691"/>
              <a:gd name="T80" fmla="*/ 619 w 1996"/>
              <a:gd name="T81" fmla="*/ 534 h 3691"/>
              <a:gd name="T82" fmla="*/ 678 w 1996"/>
              <a:gd name="T83" fmla="*/ 408 h 3691"/>
              <a:gd name="T84" fmla="*/ 754 w 1996"/>
              <a:gd name="T85" fmla="*/ 297 h 3691"/>
              <a:gd name="T86" fmla="*/ 846 w 1996"/>
              <a:gd name="T87" fmla="*/ 201 h 3691"/>
              <a:gd name="T88" fmla="*/ 954 w 1996"/>
              <a:gd name="T89" fmla="*/ 124 h 3691"/>
              <a:gd name="T90" fmla="*/ 1077 w 1996"/>
              <a:gd name="T91" fmla="*/ 64 h 3691"/>
              <a:gd name="T92" fmla="*/ 1213 w 1996"/>
              <a:gd name="T93" fmla="*/ 23 h 3691"/>
              <a:gd name="T94" fmla="*/ 1363 w 1996"/>
              <a:gd name="T95" fmla="*/ 3 h 3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96" h="3691">
                <a:moveTo>
                  <a:pt x="1442" y="0"/>
                </a:moveTo>
                <a:lnTo>
                  <a:pt x="1921" y="1"/>
                </a:lnTo>
                <a:lnTo>
                  <a:pt x="1941" y="3"/>
                </a:lnTo>
                <a:lnTo>
                  <a:pt x="1959" y="11"/>
                </a:lnTo>
                <a:lnTo>
                  <a:pt x="1974" y="22"/>
                </a:lnTo>
                <a:lnTo>
                  <a:pt x="1985" y="38"/>
                </a:lnTo>
                <a:lnTo>
                  <a:pt x="1993" y="56"/>
                </a:lnTo>
                <a:lnTo>
                  <a:pt x="1996" y="76"/>
                </a:lnTo>
                <a:lnTo>
                  <a:pt x="1996" y="639"/>
                </a:lnTo>
                <a:lnTo>
                  <a:pt x="1993" y="660"/>
                </a:lnTo>
                <a:lnTo>
                  <a:pt x="1985" y="677"/>
                </a:lnTo>
                <a:lnTo>
                  <a:pt x="1974" y="693"/>
                </a:lnTo>
                <a:lnTo>
                  <a:pt x="1959" y="704"/>
                </a:lnTo>
                <a:lnTo>
                  <a:pt x="1941" y="712"/>
                </a:lnTo>
                <a:lnTo>
                  <a:pt x="1921" y="714"/>
                </a:lnTo>
                <a:lnTo>
                  <a:pt x="1598" y="714"/>
                </a:lnTo>
                <a:lnTo>
                  <a:pt x="1553" y="717"/>
                </a:lnTo>
                <a:lnTo>
                  <a:pt x="1513" y="720"/>
                </a:lnTo>
                <a:lnTo>
                  <a:pt x="1479" y="727"/>
                </a:lnTo>
                <a:lnTo>
                  <a:pt x="1448" y="736"/>
                </a:lnTo>
                <a:lnTo>
                  <a:pt x="1423" y="748"/>
                </a:lnTo>
                <a:lnTo>
                  <a:pt x="1401" y="762"/>
                </a:lnTo>
                <a:lnTo>
                  <a:pt x="1384" y="779"/>
                </a:lnTo>
                <a:lnTo>
                  <a:pt x="1369" y="799"/>
                </a:lnTo>
                <a:lnTo>
                  <a:pt x="1358" y="822"/>
                </a:lnTo>
                <a:lnTo>
                  <a:pt x="1349" y="846"/>
                </a:lnTo>
                <a:lnTo>
                  <a:pt x="1342" y="874"/>
                </a:lnTo>
                <a:lnTo>
                  <a:pt x="1338" y="904"/>
                </a:lnTo>
                <a:lnTo>
                  <a:pt x="1336" y="937"/>
                </a:lnTo>
                <a:lnTo>
                  <a:pt x="1335" y="972"/>
                </a:lnTo>
                <a:lnTo>
                  <a:pt x="1335" y="1327"/>
                </a:lnTo>
                <a:lnTo>
                  <a:pt x="1898" y="1327"/>
                </a:lnTo>
                <a:lnTo>
                  <a:pt x="1918" y="1329"/>
                </a:lnTo>
                <a:lnTo>
                  <a:pt x="1937" y="1337"/>
                </a:lnTo>
                <a:lnTo>
                  <a:pt x="1951" y="1350"/>
                </a:lnTo>
                <a:lnTo>
                  <a:pt x="1964" y="1364"/>
                </a:lnTo>
                <a:lnTo>
                  <a:pt x="1971" y="1383"/>
                </a:lnTo>
                <a:lnTo>
                  <a:pt x="1974" y="1402"/>
                </a:lnTo>
                <a:lnTo>
                  <a:pt x="1973" y="2009"/>
                </a:lnTo>
                <a:lnTo>
                  <a:pt x="1971" y="2029"/>
                </a:lnTo>
                <a:lnTo>
                  <a:pt x="1963" y="2047"/>
                </a:lnTo>
                <a:lnTo>
                  <a:pt x="1951" y="2062"/>
                </a:lnTo>
                <a:lnTo>
                  <a:pt x="1937" y="2075"/>
                </a:lnTo>
                <a:lnTo>
                  <a:pt x="1918" y="2081"/>
                </a:lnTo>
                <a:lnTo>
                  <a:pt x="1898" y="2085"/>
                </a:lnTo>
                <a:lnTo>
                  <a:pt x="1335" y="2085"/>
                </a:lnTo>
                <a:lnTo>
                  <a:pt x="1335" y="3615"/>
                </a:lnTo>
                <a:lnTo>
                  <a:pt x="1333" y="3636"/>
                </a:lnTo>
                <a:lnTo>
                  <a:pt x="1325" y="3654"/>
                </a:lnTo>
                <a:lnTo>
                  <a:pt x="1313" y="3669"/>
                </a:lnTo>
                <a:lnTo>
                  <a:pt x="1297" y="3681"/>
                </a:lnTo>
                <a:lnTo>
                  <a:pt x="1279" y="3688"/>
                </a:lnTo>
                <a:lnTo>
                  <a:pt x="1260" y="3691"/>
                </a:lnTo>
                <a:lnTo>
                  <a:pt x="631" y="3691"/>
                </a:lnTo>
                <a:lnTo>
                  <a:pt x="612" y="3688"/>
                </a:lnTo>
                <a:lnTo>
                  <a:pt x="594" y="3681"/>
                </a:lnTo>
                <a:lnTo>
                  <a:pt x="579" y="3669"/>
                </a:lnTo>
                <a:lnTo>
                  <a:pt x="566" y="3654"/>
                </a:lnTo>
                <a:lnTo>
                  <a:pt x="558" y="3636"/>
                </a:lnTo>
                <a:lnTo>
                  <a:pt x="556" y="3615"/>
                </a:lnTo>
                <a:lnTo>
                  <a:pt x="556" y="2085"/>
                </a:lnTo>
                <a:lnTo>
                  <a:pt x="75" y="2085"/>
                </a:lnTo>
                <a:lnTo>
                  <a:pt x="54" y="2081"/>
                </a:lnTo>
                <a:lnTo>
                  <a:pt x="36" y="2075"/>
                </a:lnTo>
                <a:lnTo>
                  <a:pt x="22" y="2062"/>
                </a:lnTo>
                <a:lnTo>
                  <a:pt x="10" y="2047"/>
                </a:lnTo>
                <a:lnTo>
                  <a:pt x="2" y="2029"/>
                </a:lnTo>
                <a:lnTo>
                  <a:pt x="0" y="2009"/>
                </a:lnTo>
                <a:lnTo>
                  <a:pt x="0" y="1402"/>
                </a:lnTo>
                <a:lnTo>
                  <a:pt x="2" y="1383"/>
                </a:lnTo>
                <a:lnTo>
                  <a:pt x="10" y="1364"/>
                </a:lnTo>
                <a:lnTo>
                  <a:pt x="22" y="1350"/>
                </a:lnTo>
                <a:lnTo>
                  <a:pt x="36" y="1337"/>
                </a:lnTo>
                <a:lnTo>
                  <a:pt x="54" y="1330"/>
                </a:lnTo>
                <a:lnTo>
                  <a:pt x="75" y="1327"/>
                </a:lnTo>
                <a:lnTo>
                  <a:pt x="556" y="1327"/>
                </a:lnTo>
                <a:lnTo>
                  <a:pt x="556" y="908"/>
                </a:lnTo>
                <a:lnTo>
                  <a:pt x="558" y="827"/>
                </a:lnTo>
                <a:lnTo>
                  <a:pt x="566" y="748"/>
                </a:lnTo>
                <a:lnTo>
                  <a:pt x="579" y="673"/>
                </a:lnTo>
                <a:lnTo>
                  <a:pt x="597" y="602"/>
                </a:lnTo>
                <a:lnTo>
                  <a:pt x="619" y="534"/>
                </a:lnTo>
                <a:lnTo>
                  <a:pt x="646" y="469"/>
                </a:lnTo>
                <a:lnTo>
                  <a:pt x="678" y="408"/>
                </a:lnTo>
                <a:lnTo>
                  <a:pt x="713" y="350"/>
                </a:lnTo>
                <a:lnTo>
                  <a:pt x="754" y="297"/>
                </a:lnTo>
                <a:lnTo>
                  <a:pt x="797" y="247"/>
                </a:lnTo>
                <a:lnTo>
                  <a:pt x="846" y="201"/>
                </a:lnTo>
                <a:lnTo>
                  <a:pt x="898" y="161"/>
                </a:lnTo>
                <a:lnTo>
                  <a:pt x="954" y="124"/>
                </a:lnTo>
                <a:lnTo>
                  <a:pt x="1014" y="91"/>
                </a:lnTo>
                <a:lnTo>
                  <a:pt x="1077" y="64"/>
                </a:lnTo>
                <a:lnTo>
                  <a:pt x="1143" y="42"/>
                </a:lnTo>
                <a:lnTo>
                  <a:pt x="1213" y="23"/>
                </a:lnTo>
                <a:lnTo>
                  <a:pt x="1286" y="11"/>
                </a:lnTo>
                <a:lnTo>
                  <a:pt x="1363" y="3"/>
                </a:lnTo>
                <a:lnTo>
                  <a:pt x="1442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Content Placeholder 15"/>
          <p:cNvSpPr txBox="1">
            <a:spLocks/>
          </p:cNvSpPr>
          <p:nvPr/>
        </p:nvSpPr>
        <p:spPr>
          <a:xfrm>
            <a:off x="7679057" y="2396736"/>
            <a:ext cx="7624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cap="none" dirty="0" smtClean="0">
                <a:solidFill>
                  <a:schemeClr val="bg1">
                    <a:lumMod val="85000"/>
                  </a:schemeClr>
                </a:solidFill>
              </a:rPr>
              <a:t>61k</a:t>
            </a:r>
            <a:endParaRPr lang="en-US" sz="2800" cap="non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9" name="Content Placeholder 15"/>
          <p:cNvSpPr txBox="1">
            <a:spLocks/>
          </p:cNvSpPr>
          <p:nvPr/>
        </p:nvSpPr>
        <p:spPr>
          <a:xfrm>
            <a:off x="7679057" y="3425457"/>
            <a:ext cx="7624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cap="none" dirty="0" smtClean="0">
                <a:solidFill>
                  <a:schemeClr val="bg1">
                    <a:lumMod val="85000"/>
                  </a:schemeClr>
                </a:solidFill>
              </a:rPr>
              <a:t>93k</a:t>
            </a:r>
            <a:endParaRPr lang="en-US" sz="2800" cap="non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40" name="Content Placeholder 15"/>
          <p:cNvSpPr txBox="1">
            <a:spLocks/>
          </p:cNvSpPr>
          <p:nvPr/>
        </p:nvSpPr>
        <p:spPr>
          <a:xfrm>
            <a:off x="7679057" y="4454177"/>
            <a:ext cx="7624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cap="none" dirty="0" smtClean="0">
                <a:solidFill>
                  <a:schemeClr val="bg1">
                    <a:lumMod val="85000"/>
                  </a:schemeClr>
                </a:solidFill>
              </a:rPr>
              <a:t>58k</a:t>
            </a:r>
            <a:endParaRPr lang="en-US" sz="2800" cap="none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41" name="Content Placeholder 15"/>
          <p:cNvSpPr txBox="1">
            <a:spLocks/>
          </p:cNvSpPr>
          <p:nvPr/>
        </p:nvSpPr>
        <p:spPr>
          <a:xfrm>
            <a:off x="8738881" y="2167626"/>
            <a:ext cx="140034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cap="none" dirty="0" smtClean="0">
                <a:solidFill>
                  <a:schemeClr val="accent4"/>
                </a:solidFill>
                <a:latin typeface="Source Sans Pro Light" panose="020B0403030403020204" pitchFamily="34" charset="-18"/>
              </a:rPr>
              <a:t>Text here</a:t>
            </a:r>
            <a:endParaRPr lang="en-US" sz="2000" cap="none" dirty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142" name="Content Placeholder 15"/>
          <p:cNvSpPr txBox="1">
            <a:spLocks/>
          </p:cNvSpPr>
          <p:nvPr/>
        </p:nvSpPr>
        <p:spPr>
          <a:xfrm>
            <a:off x="8738881" y="3196347"/>
            <a:ext cx="1400175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cap="none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Text here</a:t>
            </a:r>
          </a:p>
        </p:txBody>
      </p:sp>
      <p:sp>
        <p:nvSpPr>
          <p:cNvPr id="143" name="Content Placeholder 15"/>
          <p:cNvSpPr txBox="1">
            <a:spLocks/>
          </p:cNvSpPr>
          <p:nvPr/>
        </p:nvSpPr>
        <p:spPr>
          <a:xfrm>
            <a:off x="8738881" y="4225067"/>
            <a:ext cx="1400175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cap="none" dirty="0">
                <a:solidFill>
                  <a:schemeClr val="accent4"/>
                </a:solidFill>
                <a:latin typeface="Source Sans Pro Light" panose="020B0403030403020204" pitchFamily="34" charset="-18"/>
              </a:rPr>
              <a:t>Text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4636757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45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897198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49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157639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52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418080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55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678521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58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5938962" y="227138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61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199403" y="227138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64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459844" y="227138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67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6720285" y="227138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70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6980727" y="227138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73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4636757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75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4897198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73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5157639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71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5418080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69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5678521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67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5938962" y="3305958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65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6199403" y="3305958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63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6459844" y="3305958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61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720285" y="3305958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59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6980727" y="3305958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57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77"/>
          <p:cNvGrpSpPr/>
          <p:nvPr/>
        </p:nvGrpSpPr>
        <p:grpSpPr>
          <a:xfrm>
            <a:off x="4636757" y="429959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206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4897198" y="429959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204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0" name="Group 179"/>
          <p:cNvGrpSpPr/>
          <p:nvPr/>
        </p:nvGrpSpPr>
        <p:grpSpPr>
          <a:xfrm>
            <a:off x="5157639" y="429959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202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5418080" y="429959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200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5678521" y="4299594"/>
            <a:ext cx="147666" cy="398503"/>
            <a:chOff x="4695826" y="-490538"/>
            <a:chExt cx="504825" cy="1498601"/>
          </a:xfrm>
          <a:solidFill>
            <a:schemeClr val="accent1"/>
          </a:solidFill>
        </p:grpSpPr>
        <p:sp>
          <p:nvSpPr>
            <p:cNvPr id="198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199403" y="4299594"/>
            <a:ext cx="147666" cy="398503"/>
            <a:chOff x="6199403" y="4299594"/>
            <a:chExt cx="147666" cy="398503"/>
          </a:xfrm>
        </p:grpSpPr>
        <p:sp>
          <p:nvSpPr>
            <p:cNvPr id="194" name="Freeform 17"/>
            <p:cNvSpPr>
              <a:spLocks noEditPoints="1"/>
            </p:cNvSpPr>
            <p:nvPr/>
          </p:nvSpPr>
          <p:spPr bwMode="auto">
            <a:xfrm>
              <a:off x="6237016" y="4299594"/>
              <a:ext cx="70118" cy="77674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18"/>
            <p:cNvSpPr>
              <a:spLocks/>
            </p:cNvSpPr>
            <p:nvPr/>
          </p:nvSpPr>
          <p:spPr bwMode="auto">
            <a:xfrm>
              <a:off x="6199403" y="4388666"/>
              <a:ext cx="147666" cy="309431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938962" y="4299594"/>
            <a:ext cx="147666" cy="398503"/>
            <a:chOff x="5962883" y="4299594"/>
            <a:chExt cx="147666" cy="398503"/>
          </a:xfrm>
        </p:grpSpPr>
        <p:sp>
          <p:nvSpPr>
            <p:cNvPr id="208" name="Freeform 17"/>
            <p:cNvSpPr>
              <a:spLocks noEditPoints="1"/>
            </p:cNvSpPr>
            <p:nvPr/>
          </p:nvSpPr>
          <p:spPr bwMode="auto">
            <a:xfrm>
              <a:off x="6000496" y="4299594"/>
              <a:ext cx="70118" cy="77674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8"/>
            <p:cNvSpPr>
              <a:spLocks/>
            </p:cNvSpPr>
            <p:nvPr/>
          </p:nvSpPr>
          <p:spPr bwMode="auto">
            <a:xfrm>
              <a:off x="5962883" y="4388666"/>
              <a:ext cx="147666" cy="309431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6459844" y="429959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92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6720285" y="429959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90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6980727" y="4299594"/>
            <a:ext cx="147666" cy="398503"/>
            <a:chOff x="4695826" y="-490538"/>
            <a:chExt cx="504825" cy="1498601"/>
          </a:xfrm>
          <a:solidFill>
            <a:schemeClr val="bg1">
              <a:lumMod val="85000"/>
            </a:schemeClr>
          </a:solidFill>
        </p:grpSpPr>
        <p:sp>
          <p:nvSpPr>
            <p:cNvPr id="188" name="Freeform 17"/>
            <p:cNvSpPr>
              <a:spLocks noEditPoints="1"/>
            </p:cNvSpPr>
            <p:nvPr/>
          </p:nvSpPr>
          <p:spPr bwMode="auto">
            <a:xfrm>
              <a:off x="4824413" y="-490538"/>
              <a:ext cx="239713" cy="292100"/>
            </a:xfrm>
            <a:custGeom>
              <a:avLst/>
              <a:gdLst>
                <a:gd name="T0" fmla="*/ 223 w 223"/>
                <a:gd name="T1" fmla="*/ 135 h 271"/>
                <a:gd name="T2" fmla="*/ 112 w 223"/>
                <a:gd name="T3" fmla="*/ 271 h 271"/>
                <a:gd name="T4" fmla="*/ 0 w 223"/>
                <a:gd name="T5" fmla="*/ 135 h 271"/>
                <a:gd name="T6" fmla="*/ 112 w 223"/>
                <a:gd name="T7" fmla="*/ 0 h 271"/>
                <a:gd name="T8" fmla="*/ 223 w 223"/>
                <a:gd name="T9" fmla="*/ 135 h 271"/>
                <a:gd name="T10" fmla="*/ 223 w 223"/>
                <a:gd name="T11" fmla="*/ 135 h 271"/>
                <a:gd name="T12" fmla="*/ 223 w 223"/>
                <a:gd name="T13" fmla="*/ 13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271">
                  <a:moveTo>
                    <a:pt x="223" y="135"/>
                  </a:moveTo>
                  <a:cubicBezTo>
                    <a:pt x="223" y="210"/>
                    <a:pt x="173" y="271"/>
                    <a:pt x="112" y="271"/>
                  </a:cubicBezTo>
                  <a:cubicBezTo>
                    <a:pt x="50" y="271"/>
                    <a:pt x="0" y="210"/>
                    <a:pt x="0" y="135"/>
                  </a:cubicBezTo>
                  <a:cubicBezTo>
                    <a:pt x="0" y="61"/>
                    <a:pt x="50" y="0"/>
                    <a:pt x="112" y="0"/>
                  </a:cubicBezTo>
                  <a:cubicBezTo>
                    <a:pt x="173" y="0"/>
                    <a:pt x="223" y="61"/>
                    <a:pt x="223" y="135"/>
                  </a:cubicBezTo>
                  <a:close/>
                  <a:moveTo>
                    <a:pt x="223" y="135"/>
                  </a:moveTo>
                  <a:cubicBezTo>
                    <a:pt x="223" y="135"/>
                    <a:pt x="223" y="135"/>
                    <a:pt x="223" y="135"/>
                  </a:cubicBezTo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8"/>
            <p:cNvSpPr>
              <a:spLocks/>
            </p:cNvSpPr>
            <p:nvPr/>
          </p:nvSpPr>
          <p:spPr bwMode="auto">
            <a:xfrm>
              <a:off x="4695826" y="-155575"/>
              <a:ext cx="504825" cy="1163638"/>
            </a:xfrm>
            <a:custGeom>
              <a:avLst/>
              <a:gdLst>
                <a:gd name="T0" fmla="*/ 462 w 468"/>
                <a:gd name="T1" fmla="*/ 124 h 1084"/>
                <a:gd name="T2" fmla="*/ 342 w 468"/>
                <a:gd name="T3" fmla="*/ 0 h 1084"/>
                <a:gd name="T4" fmla="*/ 122 w 468"/>
                <a:gd name="T5" fmla="*/ 0 h 1084"/>
                <a:gd name="T6" fmla="*/ 1 w 468"/>
                <a:gd name="T7" fmla="*/ 124 h 1084"/>
                <a:gd name="T8" fmla="*/ 1 w 468"/>
                <a:gd name="T9" fmla="*/ 479 h 1084"/>
                <a:gd name="T10" fmla="*/ 44 w 468"/>
                <a:gd name="T11" fmla="*/ 520 h 1084"/>
                <a:gd name="T12" fmla="*/ 85 w 468"/>
                <a:gd name="T13" fmla="*/ 480 h 1084"/>
                <a:gd name="T14" fmla="*/ 123 w 468"/>
                <a:gd name="T15" fmla="*/ 1044 h 1084"/>
                <a:gd name="T16" fmla="*/ 169 w 468"/>
                <a:gd name="T17" fmla="*/ 1084 h 1084"/>
                <a:gd name="T18" fmla="*/ 215 w 468"/>
                <a:gd name="T19" fmla="*/ 1044 h 1084"/>
                <a:gd name="T20" fmla="*/ 218 w 468"/>
                <a:gd name="T21" fmla="*/ 1044 h 1084"/>
                <a:gd name="T22" fmla="*/ 231 w 468"/>
                <a:gd name="T23" fmla="*/ 963 h 1084"/>
                <a:gd name="T24" fmla="*/ 244 w 468"/>
                <a:gd name="T25" fmla="*/ 1044 h 1084"/>
                <a:gd name="T26" fmla="*/ 249 w 468"/>
                <a:gd name="T27" fmla="*/ 1044 h 1084"/>
                <a:gd name="T28" fmla="*/ 295 w 468"/>
                <a:gd name="T29" fmla="*/ 1084 h 1084"/>
                <a:gd name="T30" fmla="*/ 341 w 468"/>
                <a:gd name="T31" fmla="*/ 1044 h 1084"/>
                <a:gd name="T32" fmla="*/ 380 w 468"/>
                <a:gd name="T33" fmla="*/ 479 h 1084"/>
                <a:gd name="T34" fmla="*/ 421 w 468"/>
                <a:gd name="T35" fmla="*/ 520 h 1084"/>
                <a:gd name="T36" fmla="*/ 463 w 468"/>
                <a:gd name="T37" fmla="*/ 479 h 1084"/>
                <a:gd name="T38" fmla="*/ 462 w 468"/>
                <a:gd name="T39" fmla="*/ 124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8" h="1084">
                  <a:moveTo>
                    <a:pt x="462" y="124"/>
                  </a:moveTo>
                  <a:cubicBezTo>
                    <a:pt x="462" y="124"/>
                    <a:pt x="468" y="0"/>
                    <a:pt x="34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0" y="0"/>
                    <a:pt x="1" y="115"/>
                    <a:pt x="1" y="124"/>
                  </a:cubicBezTo>
                  <a:cubicBezTo>
                    <a:pt x="1" y="479"/>
                    <a:pt x="1" y="479"/>
                    <a:pt x="1" y="479"/>
                  </a:cubicBezTo>
                  <a:cubicBezTo>
                    <a:pt x="3" y="498"/>
                    <a:pt x="21" y="520"/>
                    <a:pt x="44" y="520"/>
                  </a:cubicBezTo>
                  <a:cubicBezTo>
                    <a:pt x="66" y="520"/>
                    <a:pt x="83" y="499"/>
                    <a:pt x="85" y="480"/>
                  </a:cubicBezTo>
                  <a:cubicBezTo>
                    <a:pt x="123" y="1044"/>
                    <a:pt x="123" y="1044"/>
                    <a:pt x="123" y="1044"/>
                  </a:cubicBezTo>
                  <a:cubicBezTo>
                    <a:pt x="125" y="1073"/>
                    <a:pt x="145" y="1084"/>
                    <a:pt x="169" y="1084"/>
                  </a:cubicBezTo>
                  <a:cubicBezTo>
                    <a:pt x="193" y="1084"/>
                    <a:pt x="212" y="1073"/>
                    <a:pt x="215" y="1044"/>
                  </a:cubicBezTo>
                  <a:cubicBezTo>
                    <a:pt x="218" y="1044"/>
                    <a:pt x="218" y="1044"/>
                    <a:pt x="218" y="1044"/>
                  </a:cubicBezTo>
                  <a:cubicBezTo>
                    <a:pt x="231" y="963"/>
                    <a:pt x="231" y="963"/>
                    <a:pt x="231" y="963"/>
                  </a:cubicBezTo>
                  <a:cubicBezTo>
                    <a:pt x="244" y="1044"/>
                    <a:pt x="244" y="1044"/>
                    <a:pt x="244" y="1044"/>
                  </a:cubicBezTo>
                  <a:cubicBezTo>
                    <a:pt x="249" y="1044"/>
                    <a:pt x="249" y="1044"/>
                    <a:pt x="249" y="1044"/>
                  </a:cubicBezTo>
                  <a:cubicBezTo>
                    <a:pt x="252" y="1073"/>
                    <a:pt x="271" y="1084"/>
                    <a:pt x="295" y="1084"/>
                  </a:cubicBezTo>
                  <a:cubicBezTo>
                    <a:pt x="319" y="1084"/>
                    <a:pt x="338" y="1073"/>
                    <a:pt x="341" y="1044"/>
                  </a:cubicBezTo>
                  <a:cubicBezTo>
                    <a:pt x="380" y="479"/>
                    <a:pt x="380" y="479"/>
                    <a:pt x="380" y="479"/>
                  </a:cubicBezTo>
                  <a:cubicBezTo>
                    <a:pt x="380" y="498"/>
                    <a:pt x="398" y="520"/>
                    <a:pt x="421" y="520"/>
                  </a:cubicBezTo>
                  <a:cubicBezTo>
                    <a:pt x="443" y="520"/>
                    <a:pt x="461" y="498"/>
                    <a:pt x="463" y="479"/>
                  </a:cubicBezTo>
                  <a:lnTo>
                    <a:pt x="462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25000"/>
                  <a:lumOff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80640" y="1713477"/>
            <a:ext cx="5560034" cy="4017612"/>
          </a:xfrm>
          <a:prstGeom prst="rect">
            <a:avLst/>
          </a:prstGeom>
        </p:spPr>
      </p:pic>
      <p:sp>
        <p:nvSpPr>
          <p:cNvPr id="33" name="Oval 32"/>
          <p:cNvSpPr/>
          <p:nvPr/>
        </p:nvSpPr>
        <p:spPr>
          <a:xfrm>
            <a:off x="10325912" y="2101902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0"/>
          <p:cNvSpPr>
            <a:spLocks/>
          </p:cNvSpPr>
          <p:nvPr/>
        </p:nvSpPr>
        <p:spPr bwMode="auto">
          <a:xfrm flipH="1">
            <a:off x="10325913" y="2101880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49"/>
          <p:cNvSpPr>
            <a:spLocks noEditPoints="1"/>
          </p:cNvSpPr>
          <p:nvPr/>
        </p:nvSpPr>
        <p:spPr bwMode="auto">
          <a:xfrm>
            <a:off x="10550201" y="2282506"/>
            <a:ext cx="333533" cy="317132"/>
          </a:xfrm>
          <a:custGeom>
            <a:avLst/>
            <a:gdLst>
              <a:gd name="T0" fmla="*/ 775 w 3416"/>
              <a:gd name="T1" fmla="*/ 3248 h 3248"/>
              <a:gd name="T2" fmla="*/ 2573 w 3416"/>
              <a:gd name="T3" fmla="*/ 1005 h 3248"/>
              <a:gd name="T4" fmla="*/ 2755 w 3416"/>
              <a:gd name="T5" fmla="*/ 1021 h 3248"/>
              <a:gd name="T6" fmla="*/ 2921 w 3416"/>
              <a:gd name="T7" fmla="*/ 1070 h 3248"/>
              <a:gd name="T8" fmla="*/ 3069 w 3416"/>
              <a:gd name="T9" fmla="*/ 1152 h 3248"/>
              <a:gd name="T10" fmla="*/ 3194 w 3416"/>
              <a:gd name="T11" fmla="*/ 1267 h 3248"/>
              <a:gd name="T12" fmla="*/ 3295 w 3416"/>
              <a:gd name="T13" fmla="*/ 1417 h 3248"/>
              <a:gd name="T14" fmla="*/ 3367 w 3416"/>
              <a:gd name="T15" fmla="*/ 1603 h 3248"/>
              <a:gd name="T16" fmla="*/ 3408 w 3416"/>
              <a:gd name="T17" fmla="*/ 1824 h 3248"/>
              <a:gd name="T18" fmla="*/ 3416 w 3416"/>
              <a:gd name="T19" fmla="*/ 3248 h 3248"/>
              <a:gd name="T20" fmla="*/ 2683 w 3416"/>
              <a:gd name="T21" fmla="*/ 2025 h 3248"/>
              <a:gd name="T22" fmla="*/ 2666 w 3416"/>
              <a:gd name="T23" fmla="*/ 1885 h 3248"/>
              <a:gd name="T24" fmla="*/ 2626 w 3416"/>
              <a:gd name="T25" fmla="*/ 1767 h 3248"/>
              <a:gd name="T26" fmla="*/ 2563 w 3416"/>
              <a:gd name="T27" fmla="*/ 1675 h 3248"/>
              <a:gd name="T28" fmla="*/ 2474 w 3416"/>
              <a:gd name="T29" fmla="*/ 1612 h 3248"/>
              <a:gd name="T30" fmla="*/ 2358 w 3416"/>
              <a:gd name="T31" fmla="*/ 1582 h 3248"/>
              <a:gd name="T32" fmla="*/ 2226 w 3416"/>
              <a:gd name="T33" fmla="*/ 1589 h 3248"/>
              <a:gd name="T34" fmla="*/ 2115 w 3416"/>
              <a:gd name="T35" fmla="*/ 1633 h 3248"/>
              <a:gd name="T36" fmla="*/ 2029 w 3416"/>
              <a:gd name="T37" fmla="*/ 1702 h 3248"/>
              <a:gd name="T38" fmla="*/ 1967 w 3416"/>
              <a:gd name="T39" fmla="*/ 1786 h 3248"/>
              <a:gd name="T40" fmla="*/ 1927 w 3416"/>
              <a:gd name="T41" fmla="*/ 1877 h 3248"/>
              <a:gd name="T42" fmla="*/ 1914 w 3416"/>
              <a:gd name="T43" fmla="*/ 1985 h 3248"/>
              <a:gd name="T44" fmla="*/ 1180 w 3416"/>
              <a:gd name="T45" fmla="*/ 3248 h 3248"/>
              <a:gd name="T46" fmla="*/ 1181 w 3416"/>
              <a:gd name="T47" fmla="*/ 3215 h 3248"/>
              <a:gd name="T48" fmla="*/ 1181 w 3416"/>
              <a:gd name="T49" fmla="*/ 3121 h 3248"/>
              <a:gd name="T50" fmla="*/ 1182 w 3416"/>
              <a:gd name="T51" fmla="*/ 2977 h 3248"/>
              <a:gd name="T52" fmla="*/ 1182 w 3416"/>
              <a:gd name="T53" fmla="*/ 2793 h 3248"/>
              <a:gd name="T54" fmla="*/ 1183 w 3416"/>
              <a:gd name="T55" fmla="*/ 2581 h 3248"/>
              <a:gd name="T56" fmla="*/ 1184 w 3416"/>
              <a:gd name="T57" fmla="*/ 2350 h 3248"/>
              <a:gd name="T58" fmla="*/ 1184 w 3416"/>
              <a:gd name="T59" fmla="*/ 2109 h 3248"/>
              <a:gd name="T60" fmla="*/ 1185 w 3416"/>
              <a:gd name="T61" fmla="*/ 1870 h 3248"/>
              <a:gd name="T62" fmla="*/ 1185 w 3416"/>
              <a:gd name="T63" fmla="*/ 1642 h 3248"/>
              <a:gd name="T64" fmla="*/ 1184 w 3416"/>
              <a:gd name="T65" fmla="*/ 1437 h 3248"/>
              <a:gd name="T66" fmla="*/ 1184 w 3416"/>
              <a:gd name="T67" fmla="*/ 1264 h 3248"/>
              <a:gd name="T68" fmla="*/ 1182 w 3416"/>
              <a:gd name="T69" fmla="*/ 1134 h 3248"/>
              <a:gd name="T70" fmla="*/ 1180 w 3416"/>
              <a:gd name="T71" fmla="*/ 1057 h 3248"/>
              <a:gd name="T72" fmla="*/ 1911 w 3416"/>
              <a:gd name="T73" fmla="*/ 1371 h 3248"/>
              <a:gd name="T74" fmla="*/ 1913 w 3416"/>
              <a:gd name="T75" fmla="*/ 1367 h 3248"/>
              <a:gd name="T76" fmla="*/ 1969 w 3416"/>
              <a:gd name="T77" fmla="*/ 1289 h 3248"/>
              <a:gd name="T78" fmla="*/ 2041 w 3416"/>
              <a:gd name="T79" fmla="*/ 1207 h 3248"/>
              <a:gd name="T80" fmla="*/ 2133 w 3416"/>
              <a:gd name="T81" fmla="*/ 1130 h 3248"/>
              <a:gd name="T82" fmla="*/ 2250 w 3416"/>
              <a:gd name="T83" fmla="*/ 1066 h 3248"/>
              <a:gd name="T84" fmla="*/ 2395 w 3416"/>
              <a:gd name="T85" fmla="*/ 1022 h 3248"/>
              <a:gd name="T86" fmla="*/ 2573 w 3416"/>
              <a:gd name="T87" fmla="*/ 1005 h 3248"/>
              <a:gd name="T88" fmla="*/ 516 w 3416"/>
              <a:gd name="T89" fmla="*/ 10 h 3248"/>
              <a:gd name="T90" fmla="*/ 644 w 3416"/>
              <a:gd name="T91" fmla="*/ 58 h 3248"/>
              <a:gd name="T92" fmla="*/ 739 w 3416"/>
              <a:gd name="T93" fmla="*/ 139 h 3248"/>
              <a:gd name="T94" fmla="*/ 800 w 3416"/>
              <a:gd name="T95" fmla="*/ 248 h 3248"/>
              <a:gd name="T96" fmla="*/ 824 w 3416"/>
              <a:gd name="T97" fmla="*/ 379 h 3248"/>
              <a:gd name="T98" fmla="*/ 802 w 3416"/>
              <a:gd name="T99" fmla="*/ 507 h 3248"/>
              <a:gd name="T100" fmla="*/ 741 w 3416"/>
              <a:gd name="T101" fmla="*/ 616 h 3248"/>
              <a:gd name="T102" fmla="*/ 644 w 3416"/>
              <a:gd name="T103" fmla="*/ 699 h 3248"/>
              <a:gd name="T104" fmla="*/ 513 w 3416"/>
              <a:gd name="T105" fmla="*/ 748 h 3248"/>
              <a:gd name="T106" fmla="*/ 405 w 3416"/>
              <a:gd name="T107" fmla="*/ 757 h 3248"/>
              <a:gd name="T108" fmla="*/ 260 w 3416"/>
              <a:gd name="T109" fmla="*/ 736 h 3248"/>
              <a:gd name="T110" fmla="*/ 143 w 3416"/>
              <a:gd name="T111" fmla="*/ 675 h 3248"/>
              <a:gd name="T112" fmla="*/ 58 w 3416"/>
              <a:gd name="T113" fmla="*/ 582 h 3248"/>
              <a:gd name="T114" fmla="*/ 9 w 3416"/>
              <a:gd name="T115" fmla="*/ 466 h 3248"/>
              <a:gd name="T116" fmla="*/ 2 w 3416"/>
              <a:gd name="T117" fmla="*/ 334 h 3248"/>
              <a:gd name="T118" fmla="*/ 38 w 3416"/>
              <a:gd name="T119" fmla="*/ 209 h 3248"/>
              <a:gd name="T120" fmla="*/ 113 w 3416"/>
              <a:gd name="T121" fmla="*/ 109 h 3248"/>
              <a:gd name="T122" fmla="*/ 223 w 3416"/>
              <a:gd name="T123" fmla="*/ 37 h 3248"/>
              <a:gd name="T124" fmla="*/ 362 w 3416"/>
              <a:gd name="T125" fmla="*/ 2 h 3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16" h="3248">
                <a:moveTo>
                  <a:pt x="43" y="1057"/>
                </a:moveTo>
                <a:lnTo>
                  <a:pt x="775" y="1057"/>
                </a:lnTo>
                <a:lnTo>
                  <a:pt x="775" y="3248"/>
                </a:lnTo>
                <a:lnTo>
                  <a:pt x="43" y="3248"/>
                </a:lnTo>
                <a:lnTo>
                  <a:pt x="43" y="1057"/>
                </a:lnTo>
                <a:close/>
                <a:moveTo>
                  <a:pt x="2573" y="1005"/>
                </a:moveTo>
                <a:lnTo>
                  <a:pt x="2635" y="1007"/>
                </a:lnTo>
                <a:lnTo>
                  <a:pt x="2696" y="1013"/>
                </a:lnTo>
                <a:lnTo>
                  <a:pt x="2755" y="1021"/>
                </a:lnTo>
                <a:lnTo>
                  <a:pt x="2813" y="1034"/>
                </a:lnTo>
                <a:lnTo>
                  <a:pt x="2867" y="1050"/>
                </a:lnTo>
                <a:lnTo>
                  <a:pt x="2921" y="1070"/>
                </a:lnTo>
                <a:lnTo>
                  <a:pt x="2973" y="1094"/>
                </a:lnTo>
                <a:lnTo>
                  <a:pt x="3022" y="1121"/>
                </a:lnTo>
                <a:lnTo>
                  <a:pt x="3069" y="1152"/>
                </a:lnTo>
                <a:lnTo>
                  <a:pt x="3114" y="1187"/>
                </a:lnTo>
                <a:lnTo>
                  <a:pt x="3155" y="1225"/>
                </a:lnTo>
                <a:lnTo>
                  <a:pt x="3194" y="1267"/>
                </a:lnTo>
                <a:lnTo>
                  <a:pt x="3231" y="1313"/>
                </a:lnTo>
                <a:lnTo>
                  <a:pt x="3265" y="1364"/>
                </a:lnTo>
                <a:lnTo>
                  <a:pt x="3295" y="1417"/>
                </a:lnTo>
                <a:lnTo>
                  <a:pt x="3323" y="1475"/>
                </a:lnTo>
                <a:lnTo>
                  <a:pt x="3347" y="1537"/>
                </a:lnTo>
                <a:lnTo>
                  <a:pt x="3367" y="1603"/>
                </a:lnTo>
                <a:lnTo>
                  <a:pt x="3385" y="1673"/>
                </a:lnTo>
                <a:lnTo>
                  <a:pt x="3398" y="1746"/>
                </a:lnTo>
                <a:lnTo>
                  <a:pt x="3408" y="1824"/>
                </a:lnTo>
                <a:lnTo>
                  <a:pt x="3414" y="1906"/>
                </a:lnTo>
                <a:lnTo>
                  <a:pt x="3416" y="1991"/>
                </a:lnTo>
                <a:lnTo>
                  <a:pt x="3416" y="3248"/>
                </a:lnTo>
                <a:lnTo>
                  <a:pt x="2684" y="3248"/>
                </a:lnTo>
                <a:lnTo>
                  <a:pt x="2684" y="2076"/>
                </a:lnTo>
                <a:lnTo>
                  <a:pt x="2683" y="2025"/>
                </a:lnTo>
                <a:lnTo>
                  <a:pt x="2679" y="1976"/>
                </a:lnTo>
                <a:lnTo>
                  <a:pt x="2674" y="1929"/>
                </a:lnTo>
                <a:lnTo>
                  <a:pt x="2666" y="1885"/>
                </a:lnTo>
                <a:lnTo>
                  <a:pt x="2655" y="1843"/>
                </a:lnTo>
                <a:lnTo>
                  <a:pt x="2642" y="1804"/>
                </a:lnTo>
                <a:lnTo>
                  <a:pt x="2626" y="1767"/>
                </a:lnTo>
                <a:lnTo>
                  <a:pt x="2608" y="1734"/>
                </a:lnTo>
                <a:lnTo>
                  <a:pt x="2587" y="1703"/>
                </a:lnTo>
                <a:lnTo>
                  <a:pt x="2563" y="1675"/>
                </a:lnTo>
                <a:lnTo>
                  <a:pt x="2536" y="1650"/>
                </a:lnTo>
                <a:lnTo>
                  <a:pt x="2507" y="1630"/>
                </a:lnTo>
                <a:lnTo>
                  <a:pt x="2474" y="1612"/>
                </a:lnTo>
                <a:lnTo>
                  <a:pt x="2439" y="1599"/>
                </a:lnTo>
                <a:lnTo>
                  <a:pt x="2399" y="1588"/>
                </a:lnTo>
                <a:lnTo>
                  <a:pt x="2358" y="1582"/>
                </a:lnTo>
                <a:lnTo>
                  <a:pt x="2313" y="1580"/>
                </a:lnTo>
                <a:lnTo>
                  <a:pt x="2268" y="1582"/>
                </a:lnTo>
                <a:lnTo>
                  <a:pt x="2226" y="1589"/>
                </a:lnTo>
                <a:lnTo>
                  <a:pt x="2186" y="1600"/>
                </a:lnTo>
                <a:lnTo>
                  <a:pt x="2149" y="1614"/>
                </a:lnTo>
                <a:lnTo>
                  <a:pt x="2115" y="1633"/>
                </a:lnTo>
                <a:lnTo>
                  <a:pt x="2084" y="1653"/>
                </a:lnTo>
                <a:lnTo>
                  <a:pt x="2055" y="1676"/>
                </a:lnTo>
                <a:lnTo>
                  <a:pt x="2029" y="1702"/>
                </a:lnTo>
                <a:lnTo>
                  <a:pt x="2006" y="1728"/>
                </a:lnTo>
                <a:lnTo>
                  <a:pt x="1984" y="1757"/>
                </a:lnTo>
                <a:lnTo>
                  <a:pt x="1967" y="1786"/>
                </a:lnTo>
                <a:lnTo>
                  <a:pt x="1950" y="1816"/>
                </a:lnTo>
                <a:lnTo>
                  <a:pt x="1937" y="1847"/>
                </a:lnTo>
                <a:lnTo>
                  <a:pt x="1927" y="1877"/>
                </a:lnTo>
                <a:lnTo>
                  <a:pt x="1920" y="1911"/>
                </a:lnTo>
                <a:lnTo>
                  <a:pt x="1916" y="1947"/>
                </a:lnTo>
                <a:lnTo>
                  <a:pt x="1914" y="1985"/>
                </a:lnTo>
                <a:lnTo>
                  <a:pt x="1913" y="2024"/>
                </a:lnTo>
                <a:lnTo>
                  <a:pt x="1913" y="3248"/>
                </a:lnTo>
                <a:lnTo>
                  <a:pt x="1180" y="3248"/>
                </a:lnTo>
                <a:lnTo>
                  <a:pt x="1180" y="3245"/>
                </a:lnTo>
                <a:lnTo>
                  <a:pt x="1181" y="3233"/>
                </a:lnTo>
                <a:lnTo>
                  <a:pt x="1181" y="3215"/>
                </a:lnTo>
                <a:lnTo>
                  <a:pt x="1181" y="3189"/>
                </a:lnTo>
                <a:lnTo>
                  <a:pt x="1181" y="3158"/>
                </a:lnTo>
                <a:lnTo>
                  <a:pt x="1181" y="3121"/>
                </a:lnTo>
                <a:lnTo>
                  <a:pt x="1181" y="3078"/>
                </a:lnTo>
                <a:lnTo>
                  <a:pt x="1181" y="3030"/>
                </a:lnTo>
                <a:lnTo>
                  <a:pt x="1182" y="2977"/>
                </a:lnTo>
                <a:lnTo>
                  <a:pt x="1182" y="2920"/>
                </a:lnTo>
                <a:lnTo>
                  <a:pt x="1182" y="2858"/>
                </a:lnTo>
                <a:lnTo>
                  <a:pt x="1182" y="2793"/>
                </a:lnTo>
                <a:lnTo>
                  <a:pt x="1183" y="2725"/>
                </a:lnTo>
                <a:lnTo>
                  <a:pt x="1183" y="2654"/>
                </a:lnTo>
                <a:lnTo>
                  <a:pt x="1183" y="2581"/>
                </a:lnTo>
                <a:lnTo>
                  <a:pt x="1183" y="2505"/>
                </a:lnTo>
                <a:lnTo>
                  <a:pt x="1184" y="2428"/>
                </a:lnTo>
                <a:lnTo>
                  <a:pt x="1184" y="2350"/>
                </a:lnTo>
                <a:lnTo>
                  <a:pt x="1184" y="2269"/>
                </a:lnTo>
                <a:lnTo>
                  <a:pt x="1184" y="2189"/>
                </a:lnTo>
                <a:lnTo>
                  <a:pt x="1184" y="2109"/>
                </a:lnTo>
                <a:lnTo>
                  <a:pt x="1184" y="2028"/>
                </a:lnTo>
                <a:lnTo>
                  <a:pt x="1185" y="1949"/>
                </a:lnTo>
                <a:lnTo>
                  <a:pt x="1185" y="1870"/>
                </a:lnTo>
                <a:lnTo>
                  <a:pt x="1185" y="1792"/>
                </a:lnTo>
                <a:lnTo>
                  <a:pt x="1185" y="1716"/>
                </a:lnTo>
                <a:lnTo>
                  <a:pt x="1185" y="1642"/>
                </a:lnTo>
                <a:lnTo>
                  <a:pt x="1185" y="1571"/>
                </a:lnTo>
                <a:lnTo>
                  <a:pt x="1185" y="1503"/>
                </a:lnTo>
                <a:lnTo>
                  <a:pt x="1184" y="1437"/>
                </a:lnTo>
                <a:lnTo>
                  <a:pt x="1184" y="1375"/>
                </a:lnTo>
                <a:lnTo>
                  <a:pt x="1184" y="1318"/>
                </a:lnTo>
                <a:lnTo>
                  <a:pt x="1184" y="1264"/>
                </a:lnTo>
                <a:lnTo>
                  <a:pt x="1183" y="1216"/>
                </a:lnTo>
                <a:lnTo>
                  <a:pt x="1183" y="1172"/>
                </a:lnTo>
                <a:lnTo>
                  <a:pt x="1182" y="1134"/>
                </a:lnTo>
                <a:lnTo>
                  <a:pt x="1182" y="1102"/>
                </a:lnTo>
                <a:lnTo>
                  <a:pt x="1181" y="1076"/>
                </a:lnTo>
                <a:lnTo>
                  <a:pt x="1180" y="1057"/>
                </a:lnTo>
                <a:lnTo>
                  <a:pt x="1913" y="1057"/>
                </a:lnTo>
                <a:lnTo>
                  <a:pt x="1913" y="1367"/>
                </a:lnTo>
                <a:lnTo>
                  <a:pt x="1911" y="1371"/>
                </a:lnTo>
                <a:lnTo>
                  <a:pt x="1908" y="1374"/>
                </a:lnTo>
                <a:lnTo>
                  <a:pt x="1913" y="1374"/>
                </a:lnTo>
                <a:lnTo>
                  <a:pt x="1913" y="1367"/>
                </a:lnTo>
                <a:lnTo>
                  <a:pt x="1930" y="1342"/>
                </a:lnTo>
                <a:lnTo>
                  <a:pt x="1948" y="1315"/>
                </a:lnTo>
                <a:lnTo>
                  <a:pt x="1969" y="1289"/>
                </a:lnTo>
                <a:lnTo>
                  <a:pt x="1991" y="1262"/>
                </a:lnTo>
                <a:lnTo>
                  <a:pt x="2014" y="1234"/>
                </a:lnTo>
                <a:lnTo>
                  <a:pt x="2041" y="1207"/>
                </a:lnTo>
                <a:lnTo>
                  <a:pt x="2069" y="1181"/>
                </a:lnTo>
                <a:lnTo>
                  <a:pt x="2100" y="1155"/>
                </a:lnTo>
                <a:lnTo>
                  <a:pt x="2133" y="1130"/>
                </a:lnTo>
                <a:lnTo>
                  <a:pt x="2170" y="1107"/>
                </a:lnTo>
                <a:lnTo>
                  <a:pt x="2209" y="1086"/>
                </a:lnTo>
                <a:lnTo>
                  <a:pt x="2250" y="1066"/>
                </a:lnTo>
                <a:lnTo>
                  <a:pt x="2296" y="1049"/>
                </a:lnTo>
                <a:lnTo>
                  <a:pt x="2344" y="1033"/>
                </a:lnTo>
                <a:lnTo>
                  <a:pt x="2395" y="1022"/>
                </a:lnTo>
                <a:lnTo>
                  <a:pt x="2451" y="1013"/>
                </a:lnTo>
                <a:lnTo>
                  <a:pt x="2510" y="1008"/>
                </a:lnTo>
                <a:lnTo>
                  <a:pt x="2573" y="1005"/>
                </a:lnTo>
                <a:close/>
                <a:moveTo>
                  <a:pt x="414" y="0"/>
                </a:moveTo>
                <a:lnTo>
                  <a:pt x="467" y="2"/>
                </a:lnTo>
                <a:lnTo>
                  <a:pt x="516" y="10"/>
                </a:lnTo>
                <a:lnTo>
                  <a:pt x="562" y="22"/>
                </a:lnTo>
                <a:lnTo>
                  <a:pt x="605" y="37"/>
                </a:lnTo>
                <a:lnTo>
                  <a:pt x="644" y="58"/>
                </a:lnTo>
                <a:lnTo>
                  <a:pt x="679" y="82"/>
                </a:lnTo>
                <a:lnTo>
                  <a:pt x="711" y="109"/>
                </a:lnTo>
                <a:lnTo>
                  <a:pt x="739" y="139"/>
                </a:lnTo>
                <a:lnTo>
                  <a:pt x="764" y="173"/>
                </a:lnTo>
                <a:lnTo>
                  <a:pt x="785" y="209"/>
                </a:lnTo>
                <a:lnTo>
                  <a:pt x="800" y="248"/>
                </a:lnTo>
                <a:lnTo>
                  <a:pt x="813" y="290"/>
                </a:lnTo>
                <a:lnTo>
                  <a:pt x="821" y="334"/>
                </a:lnTo>
                <a:lnTo>
                  <a:pt x="824" y="379"/>
                </a:lnTo>
                <a:lnTo>
                  <a:pt x="821" y="424"/>
                </a:lnTo>
                <a:lnTo>
                  <a:pt x="815" y="466"/>
                </a:lnTo>
                <a:lnTo>
                  <a:pt x="802" y="507"/>
                </a:lnTo>
                <a:lnTo>
                  <a:pt x="787" y="546"/>
                </a:lnTo>
                <a:lnTo>
                  <a:pt x="766" y="582"/>
                </a:lnTo>
                <a:lnTo>
                  <a:pt x="741" y="616"/>
                </a:lnTo>
                <a:lnTo>
                  <a:pt x="712" y="647"/>
                </a:lnTo>
                <a:lnTo>
                  <a:pt x="680" y="675"/>
                </a:lnTo>
                <a:lnTo>
                  <a:pt x="644" y="699"/>
                </a:lnTo>
                <a:lnTo>
                  <a:pt x="603" y="719"/>
                </a:lnTo>
                <a:lnTo>
                  <a:pt x="560" y="736"/>
                </a:lnTo>
                <a:lnTo>
                  <a:pt x="513" y="748"/>
                </a:lnTo>
                <a:lnTo>
                  <a:pt x="463" y="755"/>
                </a:lnTo>
                <a:lnTo>
                  <a:pt x="410" y="757"/>
                </a:lnTo>
                <a:lnTo>
                  <a:pt x="405" y="757"/>
                </a:lnTo>
                <a:lnTo>
                  <a:pt x="353" y="755"/>
                </a:lnTo>
                <a:lnTo>
                  <a:pt x="305" y="748"/>
                </a:lnTo>
                <a:lnTo>
                  <a:pt x="260" y="736"/>
                </a:lnTo>
                <a:lnTo>
                  <a:pt x="217" y="719"/>
                </a:lnTo>
                <a:lnTo>
                  <a:pt x="178" y="699"/>
                </a:lnTo>
                <a:lnTo>
                  <a:pt x="143" y="675"/>
                </a:lnTo>
                <a:lnTo>
                  <a:pt x="111" y="647"/>
                </a:lnTo>
                <a:lnTo>
                  <a:pt x="82" y="616"/>
                </a:lnTo>
                <a:lnTo>
                  <a:pt x="58" y="582"/>
                </a:lnTo>
                <a:lnTo>
                  <a:pt x="37" y="546"/>
                </a:lnTo>
                <a:lnTo>
                  <a:pt x="21" y="507"/>
                </a:lnTo>
                <a:lnTo>
                  <a:pt x="9" y="466"/>
                </a:lnTo>
                <a:lnTo>
                  <a:pt x="2" y="424"/>
                </a:lnTo>
                <a:lnTo>
                  <a:pt x="0" y="379"/>
                </a:lnTo>
                <a:lnTo>
                  <a:pt x="2" y="334"/>
                </a:lnTo>
                <a:lnTo>
                  <a:pt x="9" y="290"/>
                </a:lnTo>
                <a:lnTo>
                  <a:pt x="22" y="248"/>
                </a:lnTo>
                <a:lnTo>
                  <a:pt x="38" y="209"/>
                </a:lnTo>
                <a:lnTo>
                  <a:pt x="59" y="173"/>
                </a:lnTo>
                <a:lnTo>
                  <a:pt x="84" y="139"/>
                </a:lnTo>
                <a:lnTo>
                  <a:pt x="113" y="109"/>
                </a:lnTo>
                <a:lnTo>
                  <a:pt x="146" y="82"/>
                </a:lnTo>
                <a:lnTo>
                  <a:pt x="182" y="58"/>
                </a:lnTo>
                <a:lnTo>
                  <a:pt x="223" y="37"/>
                </a:lnTo>
                <a:lnTo>
                  <a:pt x="266" y="22"/>
                </a:lnTo>
                <a:lnTo>
                  <a:pt x="313" y="10"/>
                </a:lnTo>
                <a:lnTo>
                  <a:pt x="362" y="2"/>
                </a:lnTo>
                <a:lnTo>
                  <a:pt x="41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23" name="Straight Connector 122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3241228" y="231726"/>
            <a:ext cx="617132" cy="7253412"/>
            <a:chOff x="3241228" y="231726"/>
            <a:chExt cx="617132" cy="725341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687970" y="231726"/>
              <a:ext cx="170390" cy="7253412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 flipH="1">
              <a:off x="3241228" y="904660"/>
              <a:ext cx="545384" cy="59533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29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 smtClean="0"/>
              <a:t>Social</a:t>
            </a:r>
            <a:r>
              <a:rPr lang="pl-PL" dirty="0" smtClean="0"/>
              <a:t> media</a:t>
            </a:r>
            <a:endParaRPr lang="en-US" dirty="0"/>
          </a:p>
        </p:txBody>
      </p:sp>
      <p:sp>
        <p:nvSpPr>
          <p:cNvPr id="130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131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7161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424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9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7035634" y="1766938"/>
            <a:ext cx="1781988" cy="3703507"/>
            <a:chOff x="4688880" y="995380"/>
            <a:chExt cx="2560026" cy="5320503"/>
          </a:xfrm>
        </p:grpSpPr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4688880" y="995380"/>
              <a:ext cx="2560026" cy="5320503"/>
            </a:xfrm>
            <a:custGeom>
              <a:avLst/>
              <a:gdLst>
                <a:gd name="connsiteX0" fmla="*/ 159596 w 2560026"/>
                <a:gd name="connsiteY0" fmla="*/ 763677 h 5320503"/>
                <a:gd name="connsiteX1" fmla="*/ 159596 w 2560026"/>
                <a:gd name="connsiteY1" fmla="*/ 4657806 h 5320503"/>
                <a:gd name="connsiteX2" fmla="*/ 2406801 w 2560026"/>
                <a:gd name="connsiteY2" fmla="*/ 4657806 h 5320503"/>
                <a:gd name="connsiteX3" fmla="*/ 2406801 w 2560026"/>
                <a:gd name="connsiteY3" fmla="*/ 763677 h 5320503"/>
                <a:gd name="connsiteX4" fmla="*/ 236212 w 2560026"/>
                <a:gd name="connsiteY4" fmla="*/ 0 h 5320503"/>
                <a:gd name="connsiteX5" fmla="*/ 2330198 w 2560026"/>
                <a:gd name="connsiteY5" fmla="*/ 0 h 5320503"/>
                <a:gd name="connsiteX6" fmla="*/ 2560026 w 2560026"/>
                <a:gd name="connsiteY6" fmla="*/ 233522 h 5320503"/>
                <a:gd name="connsiteX7" fmla="*/ 2560026 w 2560026"/>
                <a:gd name="connsiteY7" fmla="*/ 5086982 h 5320503"/>
                <a:gd name="connsiteX8" fmla="*/ 2330198 w 2560026"/>
                <a:gd name="connsiteY8" fmla="*/ 5320503 h 5320503"/>
                <a:gd name="connsiteX9" fmla="*/ 236212 w 2560026"/>
                <a:gd name="connsiteY9" fmla="*/ 5320503 h 5320503"/>
                <a:gd name="connsiteX10" fmla="*/ 0 w 2560026"/>
                <a:gd name="connsiteY10" fmla="*/ 5086982 h 5320503"/>
                <a:gd name="connsiteX11" fmla="*/ 0 w 2560026"/>
                <a:gd name="connsiteY11" fmla="*/ 233522 h 5320503"/>
                <a:gd name="connsiteX12" fmla="*/ 236212 w 2560026"/>
                <a:gd name="connsiteY12" fmla="*/ 0 h 5320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60026" h="5320503">
                  <a:moveTo>
                    <a:pt x="159596" y="763677"/>
                  </a:moveTo>
                  <a:lnTo>
                    <a:pt x="159596" y="4657806"/>
                  </a:lnTo>
                  <a:lnTo>
                    <a:pt x="2406801" y="4657806"/>
                  </a:lnTo>
                  <a:lnTo>
                    <a:pt x="2406801" y="763677"/>
                  </a:lnTo>
                  <a:close/>
                  <a:moveTo>
                    <a:pt x="236212" y="0"/>
                  </a:moveTo>
                  <a:cubicBezTo>
                    <a:pt x="2330198" y="0"/>
                    <a:pt x="2330198" y="0"/>
                    <a:pt x="2330198" y="0"/>
                  </a:cubicBezTo>
                  <a:cubicBezTo>
                    <a:pt x="2457880" y="0"/>
                    <a:pt x="2560026" y="100982"/>
                    <a:pt x="2560026" y="233522"/>
                  </a:cubicBezTo>
                  <a:cubicBezTo>
                    <a:pt x="2560026" y="5086982"/>
                    <a:pt x="2560026" y="5086982"/>
                    <a:pt x="2560026" y="5086982"/>
                  </a:cubicBezTo>
                  <a:cubicBezTo>
                    <a:pt x="2560026" y="5219521"/>
                    <a:pt x="2457880" y="5320503"/>
                    <a:pt x="2330198" y="5320503"/>
                  </a:cubicBezTo>
                  <a:lnTo>
                    <a:pt x="236212" y="5320503"/>
                  </a:lnTo>
                  <a:cubicBezTo>
                    <a:pt x="102146" y="5320503"/>
                    <a:pt x="0" y="5219521"/>
                    <a:pt x="0" y="5086982"/>
                  </a:cubicBezTo>
                  <a:cubicBezTo>
                    <a:pt x="0" y="233522"/>
                    <a:pt x="0" y="233522"/>
                    <a:pt x="0" y="233522"/>
                  </a:cubicBezTo>
                  <a:cubicBezTo>
                    <a:pt x="0" y="100982"/>
                    <a:pt x="102146" y="0"/>
                    <a:pt x="236212" y="0"/>
                  </a:cubicBezTo>
                  <a:close/>
                </a:path>
              </a:pathLst>
            </a:custGeom>
            <a:solidFill>
              <a:srgbClr val="111111"/>
            </a:solidFill>
            <a:ln w="12700"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" name="Oval 9"/>
            <p:cNvSpPr>
              <a:spLocks noChangeArrowheads="1"/>
            </p:cNvSpPr>
            <p:nvPr/>
          </p:nvSpPr>
          <p:spPr bwMode="auto">
            <a:xfrm>
              <a:off x="5933778" y="1222592"/>
              <a:ext cx="76609" cy="757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Oval 10"/>
            <p:cNvSpPr>
              <a:spLocks noChangeArrowheads="1"/>
            </p:cNvSpPr>
            <p:nvPr/>
          </p:nvSpPr>
          <p:spPr bwMode="auto">
            <a:xfrm>
              <a:off x="5959314" y="1247835"/>
              <a:ext cx="19156" cy="189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Oval 11"/>
            <p:cNvSpPr>
              <a:spLocks noChangeArrowheads="1"/>
            </p:cNvSpPr>
            <p:nvPr/>
          </p:nvSpPr>
          <p:spPr bwMode="auto">
            <a:xfrm>
              <a:off x="5933778" y="1216279"/>
              <a:ext cx="76609" cy="7573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Oval 12"/>
            <p:cNvSpPr>
              <a:spLocks noChangeArrowheads="1"/>
            </p:cNvSpPr>
            <p:nvPr/>
          </p:nvSpPr>
          <p:spPr bwMode="auto">
            <a:xfrm>
              <a:off x="5959314" y="1241523"/>
              <a:ext cx="19156" cy="1893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" name="Oval 13"/>
            <p:cNvSpPr>
              <a:spLocks noChangeArrowheads="1"/>
            </p:cNvSpPr>
            <p:nvPr/>
          </p:nvSpPr>
          <p:spPr bwMode="auto">
            <a:xfrm>
              <a:off x="5946546" y="1228901"/>
              <a:ext cx="51072" cy="5049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Oval 14"/>
            <p:cNvSpPr>
              <a:spLocks noChangeArrowheads="1"/>
            </p:cNvSpPr>
            <p:nvPr/>
          </p:nvSpPr>
          <p:spPr bwMode="auto">
            <a:xfrm>
              <a:off x="5946546" y="1228901"/>
              <a:ext cx="51072" cy="5049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" name="Oval 15"/>
            <p:cNvSpPr>
              <a:spLocks noChangeArrowheads="1"/>
            </p:cNvSpPr>
            <p:nvPr/>
          </p:nvSpPr>
          <p:spPr bwMode="auto">
            <a:xfrm>
              <a:off x="5959314" y="1241523"/>
              <a:ext cx="25535" cy="2524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5959314" y="1263417"/>
              <a:ext cx="25534" cy="25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5965699" y="1247837"/>
              <a:ext cx="6387" cy="63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965699" y="1247837"/>
              <a:ext cx="6387" cy="63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" name="Oval 19"/>
            <p:cNvSpPr>
              <a:spLocks noChangeArrowheads="1"/>
            </p:cNvSpPr>
            <p:nvPr/>
          </p:nvSpPr>
          <p:spPr bwMode="auto">
            <a:xfrm>
              <a:off x="5774652" y="5792504"/>
              <a:ext cx="388482" cy="384058"/>
            </a:xfrm>
            <a:prstGeom prst="ellipse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777821" y="1415263"/>
              <a:ext cx="414968" cy="44183"/>
            </a:xfrm>
            <a:custGeom>
              <a:avLst/>
              <a:gdLst>
                <a:gd name="T0" fmla="*/ 65 w 65"/>
                <a:gd name="T1" fmla="*/ 4 h 7"/>
                <a:gd name="T2" fmla="*/ 61 w 65"/>
                <a:gd name="T3" fmla="*/ 7 h 7"/>
                <a:gd name="T4" fmla="*/ 4 w 65"/>
                <a:gd name="T5" fmla="*/ 7 h 7"/>
                <a:gd name="T6" fmla="*/ 0 w 65"/>
                <a:gd name="T7" fmla="*/ 4 h 7"/>
                <a:gd name="T8" fmla="*/ 4 w 65"/>
                <a:gd name="T9" fmla="*/ 0 h 7"/>
                <a:gd name="T10" fmla="*/ 61 w 65"/>
                <a:gd name="T11" fmla="*/ 0 h 7"/>
                <a:gd name="T12" fmla="*/ 65 w 65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7">
                  <a:moveTo>
                    <a:pt x="65" y="4"/>
                  </a:moveTo>
                  <a:cubicBezTo>
                    <a:pt x="65" y="6"/>
                    <a:pt x="63" y="7"/>
                    <a:pt x="61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2"/>
                    <a:pt x="65" y="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xtLs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kern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aphicFrame>
        <p:nvGraphicFramePr>
          <p:cNvPr id="32" name="Chart 31"/>
          <p:cNvGraphicFramePr/>
          <p:nvPr>
            <p:extLst>
              <p:ext uri="{D42A27DB-BD31-4B8C-83A1-F6EECF244321}">
                <p14:modId xmlns:p14="http://schemas.microsoft.com/office/powerpoint/2010/main" val="1589566918"/>
              </p:ext>
            </p:extLst>
          </p:nvPr>
        </p:nvGraphicFramePr>
        <p:xfrm>
          <a:off x="7265181" y="2890110"/>
          <a:ext cx="1588338" cy="1457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3" name="Freeform 32"/>
          <p:cNvSpPr/>
          <p:nvPr/>
        </p:nvSpPr>
        <p:spPr>
          <a:xfrm>
            <a:off x="6456218" y="2488622"/>
            <a:ext cx="1171575" cy="828675"/>
          </a:xfrm>
          <a:custGeom>
            <a:avLst/>
            <a:gdLst>
              <a:gd name="connsiteX0" fmla="*/ 1171575 w 1171575"/>
              <a:gd name="connsiteY0" fmla="*/ 828675 h 828675"/>
              <a:gd name="connsiteX1" fmla="*/ 342900 w 1171575"/>
              <a:gd name="connsiteY1" fmla="*/ 0 h 828675"/>
              <a:gd name="connsiteX2" fmla="*/ 0 w 1171575"/>
              <a:gd name="connsiteY2" fmla="*/ 0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1575" h="828675">
                <a:moveTo>
                  <a:pt x="1171575" y="828675"/>
                </a:moveTo>
                <a:lnTo>
                  <a:pt x="342900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>
                <a:lumMod val="75000"/>
              </a:schemeClr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 33"/>
          <p:cNvSpPr/>
          <p:nvPr/>
        </p:nvSpPr>
        <p:spPr>
          <a:xfrm flipH="1">
            <a:off x="8207209" y="2488622"/>
            <a:ext cx="1171575" cy="828675"/>
          </a:xfrm>
          <a:custGeom>
            <a:avLst/>
            <a:gdLst>
              <a:gd name="connsiteX0" fmla="*/ 1171575 w 1171575"/>
              <a:gd name="connsiteY0" fmla="*/ 828675 h 828675"/>
              <a:gd name="connsiteX1" fmla="*/ 342900 w 1171575"/>
              <a:gd name="connsiteY1" fmla="*/ 0 h 828675"/>
              <a:gd name="connsiteX2" fmla="*/ 0 w 1171575"/>
              <a:gd name="connsiteY2" fmla="*/ 0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1575" h="828675">
                <a:moveTo>
                  <a:pt x="1171575" y="828675"/>
                </a:moveTo>
                <a:lnTo>
                  <a:pt x="342900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accent1">
                <a:lumMod val="60000"/>
                <a:lumOff val="40000"/>
              </a:schemeClr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34"/>
          <p:cNvSpPr/>
          <p:nvPr/>
        </p:nvSpPr>
        <p:spPr>
          <a:xfrm flipV="1">
            <a:off x="6456218" y="4008108"/>
            <a:ext cx="1171575" cy="828675"/>
          </a:xfrm>
          <a:custGeom>
            <a:avLst/>
            <a:gdLst>
              <a:gd name="connsiteX0" fmla="*/ 1171575 w 1171575"/>
              <a:gd name="connsiteY0" fmla="*/ 828675 h 828675"/>
              <a:gd name="connsiteX1" fmla="*/ 342900 w 1171575"/>
              <a:gd name="connsiteY1" fmla="*/ 0 h 828675"/>
              <a:gd name="connsiteX2" fmla="*/ 0 w 1171575"/>
              <a:gd name="connsiteY2" fmla="*/ 0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1575" h="828675">
                <a:moveTo>
                  <a:pt x="1171575" y="828675"/>
                </a:moveTo>
                <a:lnTo>
                  <a:pt x="342900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tx1">
                <a:lumMod val="50000"/>
                <a:lumOff val="50000"/>
              </a:schemeClr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/>
        </p:nvSpPr>
        <p:spPr>
          <a:xfrm flipH="1" flipV="1">
            <a:off x="8207209" y="4008108"/>
            <a:ext cx="1171575" cy="828675"/>
          </a:xfrm>
          <a:custGeom>
            <a:avLst/>
            <a:gdLst>
              <a:gd name="connsiteX0" fmla="*/ 1171575 w 1171575"/>
              <a:gd name="connsiteY0" fmla="*/ 828675 h 828675"/>
              <a:gd name="connsiteX1" fmla="*/ 342900 w 1171575"/>
              <a:gd name="connsiteY1" fmla="*/ 0 h 828675"/>
              <a:gd name="connsiteX2" fmla="*/ 0 w 1171575"/>
              <a:gd name="connsiteY2" fmla="*/ 0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71575" h="828675">
                <a:moveTo>
                  <a:pt x="1171575" y="828675"/>
                </a:moveTo>
                <a:lnTo>
                  <a:pt x="342900" y="0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accent1"/>
            </a:solidFill>
            <a:head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5741842" y="2139393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10"/>
          <p:cNvSpPr>
            <a:spLocks/>
          </p:cNvSpPr>
          <p:nvPr/>
        </p:nvSpPr>
        <p:spPr bwMode="auto">
          <a:xfrm>
            <a:off x="5741843" y="2139371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49"/>
          <p:cNvSpPr>
            <a:spLocks noEditPoints="1"/>
          </p:cNvSpPr>
          <p:nvPr/>
        </p:nvSpPr>
        <p:spPr bwMode="auto">
          <a:xfrm>
            <a:off x="5947081" y="2310472"/>
            <a:ext cx="333533" cy="317132"/>
          </a:xfrm>
          <a:custGeom>
            <a:avLst/>
            <a:gdLst>
              <a:gd name="T0" fmla="*/ 775 w 3416"/>
              <a:gd name="T1" fmla="*/ 3248 h 3248"/>
              <a:gd name="T2" fmla="*/ 2573 w 3416"/>
              <a:gd name="T3" fmla="*/ 1005 h 3248"/>
              <a:gd name="T4" fmla="*/ 2755 w 3416"/>
              <a:gd name="T5" fmla="*/ 1021 h 3248"/>
              <a:gd name="T6" fmla="*/ 2921 w 3416"/>
              <a:gd name="T7" fmla="*/ 1070 h 3248"/>
              <a:gd name="T8" fmla="*/ 3069 w 3416"/>
              <a:gd name="T9" fmla="*/ 1152 h 3248"/>
              <a:gd name="T10" fmla="*/ 3194 w 3416"/>
              <a:gd name="T11" fmla="*/ 1267 h 3248"/>
              <a:gd name="T12" fmla="*/ 3295 w 3416"/>
              <a:gd name="T13" fmla="*/ 1417 h 3248"/>
              <a:gd name="T14" fmla="*/ 3367 w 3416"/>
              <a:gd name="T15" fmla="*/ 1603 h 3248"/>
              <a:gd name="T16" fmla="*/ 3408 w 3416"/>
              <a:gd name="T17" fmla="*/ 1824 h 3248"/>
              <a:gd name="T18" fmla="*/ 3416 w 3416"/>
              <a:gd name="T19" fmla="*/ 3248 h 3248"/>
              <a:gd name="T20" fmla="*/ 2683 w 3416"/>
              <a:gd name="T21" fmla="*/ 2025 h 3248"/>
              <a:gd name="T22" fmla="*/ 2666 w 3416"/>
              <a:gd name="T23" fmla="*/ 1885 h 3248"/>
              <a:gd name="T24" fmla="*/ 2626 w 3416"/>
              <a:gd name="T25" fmla="*/ 1767 h 3248"/>
              <a:gd name="T26" fmla="*/ 2563 w 3416"/>
              <a:gd name="T27" fmla="*/ 1675 h 3248"/>
              <a:gd name="T28" fmla="*/ 2474 w 3416"/>
              <a:gd name="T29" fmla="*/ 1612 h 3248"/>
              <a:gd name="T30" fmla="*/ 2358 w 3416"/>
              <a:gd name="T31" fmla="*/ 1582 h 3248"/>
              <a:gd name="T32" fmla="*/ 2226 w 3416"/>
              <a:gd name="T33" fmla="*/ 1589 h 3248"/>
              <a:gd name="T34" fmla="*/ 2115 w 3416"/>
              <a:gd name="T35" fmla="*/ 1633 h 3248"/>
              <a:gd name="T36" fmla="*/ 2029 w 3416"/>
              <a:gd name="T37" fmla="*/ 1702 h 3248"/>
              <a:gd name="T38" fmla="*/ 1967 w 3416"/>
              <a:gd name="T39" fmla="*/ 1786 h 3248"/>
              <a:gd name="T40" fmla="*/ 1927 w 3416"/>
              <a:gd name="T41" fmla="*/ 1877 h 3248"/>
              <a:gd name="T42" fmla="*/ 1914 w 3416"/>
              <a:gd name="T43" fmla="*/ 1985 h 3248"/>
              <a:gd name="T44" fmla="*/ 1180 w 3416"/>
              <a:gd name="T45" fmla="*/ 3248 h 3248"/>
              <a:gd name="T46" fmla="*/ 1181 w 3416"/>
              <a:gd name="T47" fmla="*/ 3215 h 3248"/>
              <a:gd name="T48" fmla="*/ 1181 w 3416"/>
              <a:gd name="T49" fmla="*/ 3121 h 3248"/>
              <a:gd name="T50" fmla="*/ 1182 w 3416"/>
              <a:gd name="T51" fmla="*/ 2977 h 3248"/>
              <a:gd name="T52" fmla="*/ 1182 w 3416"/>
              <a:gd name="T53" fmla="*/ 2793 h 3248"/>
              <a:gd name="T54" fmla="*/ 1183 w 3416"/>
              <a:gd name="T55" fmla="*/ 2581 h 3248"/>
              <a:gd name="T56" fmla="*/ 1184 w 3416"/>
              <a:gd name="T57" fmla="*/ 2350 h 3248"/>
              <a:gd name="T58" fmla="*/ 1184 w 3416"/>
              <a:gd name="T59" fmla="*/ 2109 h 3248"/>
              <a:gd name="T60" fmla="*/ 1185 w 3416"/>
              <a:gd name="T61" fmla="*/ 1870 h 3248"/>
              <a:gd name="T62" fmla="*/ 1185 w 3416"/>
              <a:gd name="T63" fmla="*/ 1642 h 3248"/>
              <a:gd name="T64" fmla="*/ 1184 w 3416"/>
              <a:gd name="T65" fmla="*/ 1437 h 3248"/>
              <a:gd name="T66" fmla="*/ 1184 w 3416"/>
              <a:gd name="T67" fmla="*/ 1264 h 3248"/>
              <a:gd name="T68" fmla="*/ 1182 w 3416"/>
              <a:gd name="T69" fmla="*/ 1134 h 3248"/>
              <a:gd name="T70" fmla="*/ 1180 w 3416"/>
              <a:gd name="T71" fmla="*/ 1057 h 3248"/>
              <a:gd name="T72" fmla="*/ 1911 w 3416"/>
              <a:gd name="T73" fmla="*/ 1371 h 3248"/>
              <a:gd name="T74" fmla="*/ 1913 w 3416"/>
              <a:gd name="T75" fmla="*/ 1367 h 3248"/>
              <a:gd name="T76" fmla="*/ 1969 w 3416"/>
              <a:gd name="T77" fmla="*/ 1289 h 3248"/>
              <a:gd name="T78" fmla="*/ 2041 w 3416"/>
              <a:gd name="T79" fmla="*/ 1207 h 3248"/>
              <a:gd name="T80" fmla="*/ 2133 w 3416"/>
              <a:gd name="T81" fmla="*/ 1130 h 3248"/>
              <a:gd name="T82" fmla="*/ 2250 w 3416"/>
              <a:gd name="T83" fmla="*/ 1066 h 3248"/>
              <a:gd name="T84" fmla="*/ 2395 w 3416"/>
              <a:gd name="T85" fmla="*/ 1022 h 3248"/>
              <a:gd name="T86" fmla="*/ 2573 w 3416"/>
              <a:gd name="T87" fmla="*/ 1005 h 3248"/>
              <a:gd name="T88" fmla="*/ 516 w 3416"/>
              <a:gd name="T89" fmla="*/ 10 h 3248"/>
              <a:gd name="T90" fmla="*/ 644 w 3416"/>
              <a:gd name="T91" fmla="*/ 58 h 3248"/>
              <a:gd name="T92" fmla="*/ 739 w 3416"/>
              <a:gd name="T93" fmla="*/ 139 h 3248"/>
              <a:gd name="T94" fmla="*/ 800 w 3416"/>
              <a:gd name="T95" fmla="*/ 248 h 3248"/>
              <a:gd name="T96" fmla="*/ 824 w 3416"/>
              <a:gd name="T97" fmla="*/ 379 h 3248"/>
              <a:gd name="T98" fmla="*/ 802 w 3416"/>
              <a:gd name="T99" fmla="*/ 507 h 3248"/>
              <a:gd name="T100" fmla="*/ 741 w 3416"/>
              <a:gd name="T101" fmla="*/ 616 h 3248"/>
              <a:gd name="T102" fmla="*/ 644 w 3416"/>
              <a:gd name="T103" fmla="*/ 699 h 3248"/>
              <a:gd name="T104" fmla="*/ 513 w 3416"/>
              <a:gd name="T105" fmla="*/ 748 h 3248"/>
              <a:gd name="T106" fmla="*/ 405 w 3416"/>
              <a:gd name="T107" fmla="*/ 757 h 3248"/>
              <a:gd name="T108" fmla="*/ 260 w 3416"/>
              <a:gd name="T109" fmla="*/ 736 h 3248"/>
              <a:gd name="T110" fmla="*/ 143 w 3416"/>
              <a:gd name="T111" fmla="*/ 675 h 3248"/>
              <a:gd name="T112" fmla="*/ 58 w 3416"/>
              <a:gd name="T113" fmla="*/ 582 h 3248"/>
              <a:gd name="T114" fmla="*/ 9 w 3416"/>
              <a:gd name="T115" fmla="*/ 466 h 3248"/>
              <a:gd name="T116" fmla="*/ 2 w 3416"/>
              <a:gd name="T117" fmla="*/ 334 h 3248"/>
              <a:gd name="T118" fmla="*/ 38 w 3416"/>
              <a:gd name="T119" fmla="*/ 209 h 3248"/>
              <a:gd name="T120" fmla="*/ 113 w 3416"/>
              <a:gd name="T121" fmla="*/ 109 h 3248"/>
              <a:gd name="T122" fmla="*/ 223 w 3416"/>
              <a:gd name="T123" fmla="*/ 37 h 3248"/>
              <a:gd name="T124" fmla="*/ 362 w 3416"/>
              <a:gd name="T125" fmla="*/ 2 h 3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16" h="3248">
                <a:moveTo>
                  <a:pt x="43" y="1057"/>
                </a:moveTo>
                <a:lnTo>
                  <a:pt x="775" y="1057"/>
                </a:lnTo>
                <a:lnTo>
                  <a:pt x="775" y="3248"/>
                </a:lnTo>
                <a:lnTo>
                  <a:pt x="43" y="3248"/>
                </a:lnTo>
                <a:lnTo>
                  <a:pt x="43" y="1057"/>
                </a:lnTo>
                <a:close/>
                <a:moveTo>
                  <a:pt x="2573" y="1005"/>
                </a:moveTo>
                <a:lnTo>
                  <a:pt x="2635" y="1007"/>
                </a:lnTo>
                <a:lnTo>
                  <a:pt x="2696" y="1013"/>
                </a:lnTo>
                <a:lnTo>
                  <a:pt x="2755" y="1021"/>
                </a:lnTo>
                <a:lnTo>
                  <a:pt x="2813" y="1034"/>
                </a:lnTo>
                <a:lnTo>
                  <a:pt x="2867" y="1050"/>
                </a:lnTo>
                <a:lnTo>
                  <a:pt x="2921" y="1070"/>
                </a:lnTo>
                <a:lnTo>
                  <a:pt x="2973" y="1094"/>
                </a:lnTo>
                <a:lnTo>
                  <a:pt x="3022" y="1121"/>
                </a:lnTo>
                <a:lnTo>
                  <a:pt x="3069" y="1152"/>
                </a:lnTo>
                <a:lnTo>
                  <a:pt x="3114" y="1187"/>
                </a:lnTo>
                <a:lnTo>
                  <a:pt x="3155" y="1225"/>
                </a:lnTo>
                <a:lnTo>
                  <a:pt x="3194" y="1267"/>
                </a:lnTo>
                <a:lnTo>
                  <a:pt x="3231" y="1313"/>
                </a:lnTo>
                <a:lnTo>
                  <a:pt x="3265" y="1364"/>
                </a:lnTo>
                <a:lnTo>
                  <a:pt x="3295" y="1417"/>
                </a:lnTo>
                <a:lnTo>
                  <a:pt x="3323" y="1475"/>
                </a:lnTo>
                <a:lnTo>
                  <a:pt x="3347" y="1537"/>
                </a:lnTo>
                <a:lnTo>
                  <a:pt x="3367" y="1603"/>
                </a:lnTo>
                <a:lnTo>
                  <a:pt x="3385" y="1673"/>
                </a:lnTo>
                <a:lnTo>
                  <a:pt x="3398" y="1746"/>
                </a:lnTo>
                <a:lnTo>
                  <a:pt x="3408" y="1824"/>
                </a:lnTo>
                <a:lnTo>
                  <a:pt x="3414" y="1906"/>
                </a:lnTo>
                <a:lnTo>
                  <a:pt x="3416" y="1991"/>
                </a:lnTo>
                <a:lnTo>
                  <a:pt x="3416" y="3248"/>
                </a:lnTo>
                <a:lnTo>
                  <a:pt x="2684" y="3248"/>
                </a:lnTo>
                <a:lnTo>
                  <a:pt x="2684" y="2076"/>
                </a:lnTo>
                <a:lnTo>
                  <a:pt x="2683" y="2025"/>
                </a:lnTo>
                <a:lnTo>
                  <a:pt x="2679" y="1976"/>
                </a:lnTo>
                <a:lnTo>
                  <a:pt x="2674" y="1929"/>
                </a:lnTo>
                <a:lnTo>
                  <a:pt x="2666" y="1885"/>
                </a:lnTo>
                <a:lnTo>
                  <a:pt x="2655" y="1843"/>
                </a:lnTo>
                <a:lnTo>
                  <a:pt x="2642" y="1804"/>
                </a:lnTo>
                <a:lnTo>
                  <a:pt x="2626" y="1767"/>
                </a:lnTo>
                <a:lnTo>
                  <a:pt x="2608" y="1734"/>
                </a:lnTo>
                <a:lnTo>
                  <a:pt x="2587" y="1703"/>
                </a:lnTo>
                <a:lnTo>
                  <a:pt x="2563" y="1675"/>
                </a:lnTo>
                <a:lnTo>
                  <a:pt x="2536" y="1650"/>
                </a:lnTo>
                <a:lnTo>
                  <a:pt x="2507" y="1630"/>
                </a:lnTo>
                <a:lnTo>
                  <a:pt x="2474" y="1612"/>
                </a:lnTo>
                <a:lnTo>
                  <a:pt x="2439" y="1599"/>
                </a:lnTo>
                <a:lnTo>
                  <a:pt x="2399" y="1588"/>
                </a:lnTo>
                <a:lnTo>
                  <a:pt x="2358" y="1582"/>
                </a:lnTo>
                <a:lnTo>
                  <a:pt x="2313" y="1580"/>
                </a:lnTo>
                <a:lnTo>
                  <a:pt x="2268" y="1582"/>
                </a:lnTo>
                <a:lnTo>
                  <a:pt x="2226" y="1589"/>
                </a:lnTo>
                <a:lnTo>
                  <a:pt x="2186" y="1600"/>
                </a:lnTo>
                <a:lnTo>
                  <a:pt x="2149" y="1614"/>
                </a:lnTo>
                <a:lnTo>
                  <a:pt x="2115" y="1633"/>
                </a:lnTo>
                <a:lnTo>
                  <a:pt x="2084" y="1653"/>
                </a:lnTo>
                <a:lnTo>
                  <a:pt x="2055" y="1676"/>
                </a:lnTo>
                <a:lnTo>
                  <a:pt x="2029" y="1702"/>
                </a:lnTo>
                <a:lnTo>
                  <a:pt x="2006" y="1728"/>
                </a:lnTo>
                <a:lnTo>
                  <a:pt x="1984" y="1757"/>
                </a:lnTo>
                <a:lnTo>
                  <a:pt x="1967" y="1786"/>
                </a:lnTo>
                <a:lnTo>
                  <a:pt x="1950" y="1816"/>
                </a:lnTo>
                <a:lnTo>
                  <a:pt x="1937" y="1847"/>
                </a:lnTo>
                <a:lnTo>
                  <a:pt x="1927" y="1877"/>
                </a:lnTo>
                <a:lnTo>
                  <a:pt x="1920" y="1911"/>
                </a:lnTo>
                <a:lnTo>
                  <a:pt x="1916" y="1947"/>
                </a:lnTo>
                <a:lnTo>
                  <a:pt x="1914" y="1985"/>
                </a:lnTo>
                <a:lnTo>
                  <a:pt x="1913" y="2024"/>
                </a:lnTo>
                <a:lnTo>
                  <a:pt x="1913" y="3248"/>
                </a:lnTo>
                <a:lnTo>
                  <a:pt x="1180" y="3248"/>
                </a:lnTo>
                <a:lnTo>
                  <a:pt x="1180" y="3245"/>
                </a:lnTo>
                <a:lnTo>
                  <a:pt x="1181" y="3233"/>
                </a:lnTo>
                <a:lnTo>
                  <a:pt x="1181" y="3215"/>
                </a:lnTo>
                <a:lnTo>
                  <a:pt x="1181" y="3189"/>
                </a:lnTo>
                <a:lnTo>
                  <a:pt x="1181" y="3158"/>
                </a:lnTo>
                <a:lnTo>
                  <a:pt x="1181" y="3121"/>
                </a:lnTo>
                <a:lnTo>
                  <a:pt x="1181" y="3078"/>
                </a:lnTo>
                <a:lnTo>
                  <a:pt x="1181" y="3030"/>
                </a:lnTo>
                <a:lnTo>
                  <a:pt x="1182" y="2977"/>
                </a:lnTo>
                <a:lnTo>
                  <a:pt x="1182" y="2920"/>
                </a:lnTo>
                <a:lnTo>
                  <a:pt x="1182" y="2858"/>
                </a:lnTo>
                <a:lnTo>
                  <a:pt x="1182" y="2793"/>
                </a:lnTo>
                <a:lnTo>
                  <a:pt x="1183" y="2725"/>
                </a:lnTo>
                <a:lnTo>
                  <a:pt x="1183" y="2654"/>
                </a:lnTo>
                <a:lnTo>
                  <a:pt x="1183" y="2581"/>
                </a:lnTo>
                <a:lnTo>
                  <a:pt x="1183" y="2505"/>
                </a:lnTo>
                <a:lnTo>
                  <a:pt x="1184" y="2428"/>
                </a:lnTo>
                <a:lnTo>
                  <a:pt x="1184" y="2350"/>
                </a:lnTo>
                <a:lnTo>
                  <a:pt x="1184" y="2269"/>
                </a:lnTo>
                <a:lnTo>
                  <a:pt x="1184" y="2189"/>
                </a:lnTo>
                <a:lnTo>
                  <a:pt x="1184" y="2109"/>
                </a:lnTo>
                <a:lnTo>
                  <a:pt x="1184" y="2028"/>
                </a:lnTo>
                <a:lnTo>
                  <a:pt x="1185" y="1949"/>
                </a:lnTo>
                <a:lnTo>
                  <a:pt x="1185" y="1870"/>
                </a:lnTo>
                <a:lnTo>
                  <a:pt x="1185" y="1792"/>
                </a:lnTo>
                <a:lnTo>
                  <a:pt x="1185" y="1716"/>
                </a:lnTo>
                <a:lnTo>
                  <a:pt x="1185" y="1642"/>
                </a:lnTo>
                <a:lnTo>
                  <a:pt x="1185" y="1571"/>
                </a:lnTo>
                <a:lnTo>
                  <a:pt x="1185" y="1503"/>
                </a:lnTo>
                <a:lnTo>
                  <a:pt x="1184" y="1437"/>
                </a:lnTo>
                <a:lnTo>
                  <a:pt x="1184" y="1375"/>
                </a:lnTo>
                <a:lnTo>
                  <a:pt x="1184" y="1318"/>
                </a:lnTo>
                <a:lnTo>
                  <a:pt x="1184" y="1264"/>
                </a:lnTo>
                <a:lnTo>
                  <a:pt x="1183" y="1216"/>
                </a:lnTo>
                <a:lnTo>
                  <a:pt x="1183" y="1172"/>
                </a:lnTo>
                <a:lnTo>
                  <a:pt x="1182" y="1134"/>
                </a:lnTo>
                <a:lnTo>
                  <a:pt x="1182" y="1102"/>
                </a:lnTo>
                <a:lnTo>
                  <a:pt x="1181" y="1076"/>
                </a:lnTo>
                <a:lnTo>
                  <a:pt x="1180" y="1057"/>
                </a:lnTo>
                <a:lnTo>
                  <a:pt x="1913" y="1057"/>
                </a:lnTo>
                <a:lnTo>
                  <a:pt x="1913" y="1367"/>
                </a:lnTo>
                <a:lnTo>
                  <a:pt x="1911" y="1371"/>
                </a:lnTo>
                <a:lnTo>
                  <a:pt x="1908" y="1374"/>
                </a:lnTo>
                <a:lnTo>
                  <a:pt x="1913" y="1374"/>
                </a:lnTo>
                <a:lnTo>
                  <a:pt x="1913" y="1367"/>
                </a:lnTo>
                <a:lnTo>
                  <a:pt x="1930" y="1342"/>
                </a:lnTo>
                <a:lnTo>
                  <a:pt x="1948" y="1315"/>
                </a:lnTo>
                <a:lnTo>
                  <a:pt x="1969" y="1289"/>
                </a:lnTo>
                <a:lnTo>
                  <a:pt x="1991" y="1262"/>
                </a:lnTo>
                <a:lnTo>
                  <a:pt x="2014" y="1234"/>
                </a:lnTo>
                <a:lnTo>
                  <a:pt x="2041" y="1207"/>
                </a:lnTo>
                <a:lnTo>
                  <a:pt x="2069" y="1181"/>
                </a:lnTo>
                <a:lnTo>
                  <a:pt x="2100" y="1155"/>
                </a:lnTo>
                <a:lnTo>
                  <a:pt x="2133" y="1130"/>
                </a:lnTo>
                <a:lnTo>
                  <a:pt x="2170" y="1107"/>
                </a:lnTo>
                <a:lnTo>
                  <a:pt x="2209" y="1086"/>
                </a:lnTo>
                <a:lnTo>
                  <a:pt x="2250" y="1066"/>
                </a:lnTo>
                <a:lnTo>
                  <a:pt x="2296" y="1049"/>
                </a:lnTo>
                <a:lnTo>
                  <a:pt x="2344" y="1033"/>
                </a:lnTo>
                <a:lnTo>
                  <a:pt x="2395" y="1022"/>
                </a:lnTo>
                <a:lnTo>
                  <a:pt x="2451" y="1013"/>
                </a:lnTo>
                <a:lnTo>
                  <a:pt x="2510" y="1008"/>
                </a:lnTo>
                <a:lnTo>
                  <a:pt x="2573" y="1005"/>
                </a:lnTo>
                <a:close/>
                <a:moveTo>
                  <a:pt x="414" y="0"/>
                </a:moveTo>
                <a:lnTo>
                  <a:pt x="467" y="2"/>
                </a:lnTo>
                <a:lnTo>
                  <a:pt x="516" y="10"/>
                </a:lnTo>
                <a:lnTo>
                  <a:pt x="562" y="22"/>
                </a:lnTo>
                <a:lnTo>
                  <a:pt x="605" y="37"/>
                </a:lnTo>
                <a:lnTo>
                  <a:pt x="644" y="58"/>
                </a:lnTo>
                <a:lnTo>
                  <a:pt x="679" y="82"/>
                </a:lnTo>
                <a:lnTo>
                  <a:pt x="711" y="109"/>
                </a:lnTo>
                <a:lnTo>
                  <a:pt x="739" y="139"/>
                </a:lnTo>
                <a:lnTo>
                  <a:pt x="764" y="173"/>
                </a:lnTo>
                <a:lnTo>
                  <a:pt x="785" y="209"/>
                </a:lnTo>
                <a:lnTo>
                  <a:pt x="800" y="248"/>
                </a:lnTo>
                <a:lnTo>
                  <a:pt x="813" y="290"/>
                </a:lnTo>
                <a:lnTo>
                  <a:pt x="821" y="334"/>
                </a:lnTo>
                <a:lnTo>
                  <a:pt x="824" y="379"/>
                </a:lnTo>
                <a:lnTo>
                  <a:pt x="821" y="424"/>
                </a:lnTo>
                <a:lnTo>
                  <a:pt x="815" y="466"/>
                </a:lnTo>
                <a:lnTo>
                  <a:pt x="802" y="507"/>
                </a:lnTo>
                <a:lnTo>
                  <a:pt x="787" y="546"/>
                </a:lnTo>
                <a:lnTo>
                  <a:pt x="766" y="582"/>
                </a:lnTo>
                <a:lnTo>
                  <a:pt x="741" y="616"/>
                </a:lnTo>
                <a:lnTo>
                  <a:pt x="712" y="647"/>
                </a:lnTo>
                <a:lnTo>
                  <a:pt x="680" y="675"/>
                </a:lnTo>
                <a:lnTo>
                  <a:pt x="644" y="699"/>
                </a:lnTo>
                <a:lnTo>
                  <a:pt x="603" y="719"/>
                </a:lnTo>
                <a:lnTo>
                  <a:pt x="560" y="736"/>
                </a:lnTo>
                <a:lnTo>
                  <a:pt x="513" y="748"/>
                </a:lnTo>
                <a:lnTo>
                  <a:pt x="463" y="755"/>
                </a:lnTo>
                <a:lnTo>
                  <a:pt x="410" y="757"/>
                </a:lnTo>
                <a:lnTo>
                  <a:pt x="405" y="757"/>
                </a:lnTo>
                <a:lnTo>
                  <a:pt x="353" y="755"/>
                </a:lnTo>
                <a:lnTo>
                  <a:pt x="305" y="748"/>
                </a:lnTo>
                <a:lnTo>
                  <a:pt x="260" y="736"/>
                </a:lnTo>
                <a:lnTo>
                  <a:pt x="217" y="719"/>
                </a:lnTo>
                <a:lnTo>
                  <a:pt x="178" y="699"/>
                </a:lnTo>
                <a:lnTo>
                  <a:pt x="143" y="675"/>
                </a:lnTo>
                <a:lnTo>
                  <a:pt x="111" y="647"/>
                </a:lnTo>
                <a:lnTo>
                  <a:pt x="82" y="616"/>
                </a:lnTo>
                <a:lnTo>
                  <a:pt x="58" y="582"/>
                </a:lnTo>
                <a:lnTo>
                  <a:pt x="37" y="546"/>
                </a:lnTo>
                <a:lnTo>
                  <a:pt x="21" y="507"/>
                </a:lnTo>
                <a:lnTo>
                  <a:pt x="9" y="466"/>
                </a:lnTo>
                <a:lnTo>
                  <a:pt x="2" y="424"/>
                </a:lnTo>
                <a:lnTo>
                  <a:pt x="0" y="379"/>
                </a:lnTo>
                <a:lnTo>
                  <a:pt x="2" y="334"/>
                </a:lnTo>
                <a:lnTo>
                  <a:pt x="9" y="290"/>
                </a:lnTo>
                <a:lnTo>
                  <a:pt x="22" y="248"/>
                </a:lnTo>
                <a:lnTo>
                  <a:pt x="38" y="209"/>
                </a:lnTo>
                <a:lnTo>
                  <a:pt x="59" y="173"/>
                </a:lnTo>
                <a:lnTo>
                  <a:pt x="84" y="139"/>
                </a:lnTo>
                <a:lnTo>
                  <a:pt x="113" y="109"/>
                </a:lnTo>
                <a:lnTo>
                  <a:pt x="146" y="82"/>
                </a:lnTo>
                <a:lnTo>
                  <a:pt x="182" y="58"/>
                </a:lnTo>
                <a:lnTo>
                  <a:pt x="223" y="37"/>
                </a:lnTo>
                <a:lnTo>
                  <a:pt x="266" y="22"/>
                </a:lnTo>
                <a:lnTo>
                  <a:pt x="313" y="10"/>
                </a:lnTo>
                <a:lnTo>
                  <a:pt x="362" y="2"/>
                </a:lnTo>
                <a:lnTo>
                  <a:pt x="41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5721137" y="4484073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Freeform 10"/>
          <p:cNvSpPr>
            <a:spLocks/>
          </p:cNvSpPr>
          <p:nvPr/>
        </p:nvSpPr>
        <p:spPr bwMode="auto">
          <a:xfrm>
            <a:off x="5721138" y="4475118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36">
            <a:hlinkClick r:id="rId8"/>
          </p:cNvPr>
          <p:cNvSpPr>
            <a:spLocks/>
          </p:cNvSpPr>
          <p:nvPr/>
        </p:nvSpPr>
        <p:spPr bwMode="auto">
          <a:xfrm>
            <a:off x="5865443" y="4688928"/>
            <a:ext cx="425764" cy="345492"/>
          </a:xfrm>
          <a:custGeom>
            <a:avLst/>
            <a:gdLst>
              <a:gd name="T0" fmla="*/ 3173 w 4343"/>
              <a:gd name="T1" fmla="*/ 16 h 3525"/>
              <a:gd name="T2" fmla="*/ 3404 w 4343"/>
              <a:gd name="T3" fmla="*/ 92 h 3525"/>
              <a:gd name="T4" fmla="*/ 3600 w 4343"/>
              <a:gd name="T5" fmla="*/ 227 h 3525"/>
              <a:gd name="T6" fmla="*/ 3856 w 4343"/>
              <a:gd name="T7" fmla="*/ 231 h 3525"/>
              <a:gd name="T8" fmla="*/ 4135 w 4343"/>
              <a:gd name="T9" fmla="*/ 113 h 3525"/>
              <a:gd name="T10" fmla="*/ 4160 w 4343"/>
              <a:gd name="T11" fmla="*/ 215 h 3525"/>
              <a:gd name="T12" fmla="*/ 4018 w 4343"/>
              <a:gd name="T13" fmla="*/ 408 h 3525"/>
              <a:gd name="T14" fmla="*/ 3831 w 4343"/>
              <a:gd name="T15" fmla="*/ 558 h 3525"/>
              <a:gd name="T16" fmla="*/ 4145 w 4343"/>
              <a:gd name="T17" fmla="*/ 491 h 3525"/>
              <a:gd name="T18" fmla="*/ 4280 w 4343"/>
              <a:gd name="T19" fmla="*/ 504 h 3525"/>
              <a:gd name="T20" fmla="*/ 4064 w 4343"/>
              <a:gd name="T21" fmla="*/ 742 h 3525"/>
              <a:gd name="T22" fmla="*/ 3900 w 4343"/>
              <a:gd name="T23" fmla="*/ 994 h 3525"/>
              <a:gd name="T24" fmla="*/ 3881 w 4343"/>
              <a:gd name="T25" fmla="*/ 1299 h 3525"/>
              <a:gd name="T26" fmla="*/ 3823 w 4343"/>
              <a:gd name="T27" fmla="*/ 1607 h 3525"/>
              <a:gd name="T28" fmla="*/ 3725 w 4343"/>
              <a:gd name="T29" fmla="*/ 1910 h 3525"/>
              <a:gd name="T30" fmla="*/ 3591 w 4343"/>
              <a:gd name="T31" fmla="*/ 2204 h 3525"/>
              <a:gd name="T32" fmla="*/ 3420 w 4343"/>
              <a:gd name="T33" fmla="*/ 2483 h 3525"/>
              <a:gd name="T34" fmla="*/ 3210 w 4343"/>
              <a:gd name="T35" fmla="*/ 2741 h 3525"/>
              <a:gd name="T36" fmla="*/ 2966 w 4343"/>
              <a:gd name="T37" fmla="*/ 2973 h 3525"/>
              <a:gd name="T38" fmla="*/ 2686 w 4343"/>
              <a:gd name="T39" fmla="*/ 3172 h 3525"/>
              <a:gd name="T40" fmla="*/ 2371 w 4343"/>
              <a:gd name="T41" fmla="*/ 3331 h 3525"/>
              <a:gd name="T42" fmla="*/ 2022 w 4343"/>
              <a:gd name="T43" fmla="*/ 3447 h 3525"/>
              <a:gd name="T44" fmla="*/ 1640 w 4343"/>
              <a:gd name="T45" fmla="*/ 3512 h 3525"/>
              <a:gd name="T46" fmla="*/ 1229 w 4343"/>
              <a:gd name="T47" fmla="*/ 3522 h 3525"/>
              <a:gd name="T48" fmla="*/ 833 w 4343"/>
              <a:gd name="T49" fmla="*/ 3469 h 3525"/>
              <a:gd name="T50" fmla="*/ 457 w 4343"/>
              <a:gd name="T51" fmla="*/ 3357 h 3525"/>
              <a:gd name="T52" fmla="*/ 109 w 4343"/>
              <a:gd name="T53" fmla="*/ 3193 h 3525"/>
              <a:gd name="T54" fmla="*/ 212 w 4343"/>
              <a:gd name="T55" fmla="*/ 3139 h 3525"/>
              <a:gd name="T56" fmla="*/ 545 w 4343"/>
              <a:gd name="T57" fmla="*/ 3107 h 3525"/>
              <a:gd name="T58" fmla="*/ 859 w 4343"/>
              <a:gd name="T59" fmla="*/ 3019 h 3525"/>
              <a:gd name="T60" fmla="*/ 1145 w 4343"/>
              <a:gd name="T61" fmla="*/ 2878 h 3525"/>
              <a:gd name="T62" fmla="*/ 1237 w 4343"/>
              <a:gd name="T63" fmla="*/ 2752 h 3525"/>
              <a:gd name="T64" fmla="*/ 1004 w 4343"/>
              <a:gd name="T65" fmla="*/ 2694 h 3525"/>
              <a:gd name="T66" fmla="*/ 800 w 4343"/>
              <a:gd name="T67" fmla="*/ 2578 h 3525"/>
              <a:gd name="T68" fmla="*/ 634 w 4343"/>
              <a:gd name="T69" fmla="*/ 2415 h 3525"/>
              <a:gd name="T70" fmla="*/ 514 w 4343"/>
              <a:gd name="T71" fmla="*/ 2214 h 3525"/>
              <a:gd name="T72" fmla="*/ 598 w 4343"/>
              <a:gd name="T73" fmla="*/ 2153 h 3525"/>
              <a:gd name="T74" fmla="*/ 813 w 4343"/>
              <a:gd name="T75" fmla="*/ 2141 h 3525"/>
              <a:gd name="T76" fmla="*/ 732 w 4343"/>
              <a:gd name="T77" fmla="*/ 2077 h 3525"/>
              <a:gd name="T78" fmla="*/ 523 w 4343"/>
              <a:gd name="T79" fmla="*/ 1957 h 3525"/>
              <a:gd name="T80" fmla="*/ 354 w 4343"/>
              <a:gd name="T81" fmla="*/ 1787 h 3525"/>
              <a:gd name="T82" fmla="*/ 236 w 4343"/>
              <a:gd name="T83" fmla="*/ 1577 h 3525"/>
              <a:gd name="T84" fmla="*/ 178 w 4343"/>
              <a:gd name="T85" fmla="*/ 1336 h 3525"/>
              <a:gd name="T86" fmla="*/ 236 w 4343"/>
              <a:gd name="T87" fmla="*/ 1271 h 3525"/>
              <a:gd name="T88" fmla="*/ 435 w 4343"/>
              <a:gd name="T89" fmla="*/ 1335 h 3525"/>
              <a:gd name="T90" fmla="*/ 515 w 4343"/>
              <a:gd name="T91" fmla="*/ 1306 h 3525"/>
              <a:gd name="T92" fmla="*/ 353 w 4343"/>
              <a:gd name="T93" fmla="*/ 1136 h 3525"/>
              <a:gd name="T94" fmla="*/ 241 w 4343"/>
              <a:gd name="T95" fmla="*/ 929 h 3525"/>
              <a:gd name="T96" fmla="*/ 186 w 4343"/>
              <a:gd name="T97" fmla="*/ 694 h 3525"/>
              <a:gd name="T98" fmla="*/ 196 w 4343"/>
              <a:gd name="T99" fmla="*/ 452 h 3525"/>
              <a:gd name="T100" fmla="*/ 267 w 4343"/>
              <a:gd name="T101" fmla="*/ 231 h 3525"/>
              <a:gd name="T102" fmla="*/ 477 w 4343"/>
              <a:gd name="T103" fmla="*/ 356 h 3525"/>
              <a:gd name="T104" fmla="*/ 773 w 4343"/>
              <a:gd name="T105" fmla="*/ 610 h 3525"/>
              <a:gd name="T106" fmla="*/ 1108 w 4343"/>
              <a:gd name="T107" fmla="*/ 816 h 3525"/>
              <a:gd name="T108" fmla="*/ 1473 w 4343"/>
              <a:gd name="T109" fmla="*/ 969 h 3525"/>
              <a:gd name="T110" fmla="*/ 1865 w 4343"/>
              <a:gd name="T111" fmla="*/ 1065 h 3525"/>
              <a:gd name="T112" fmla="*/ 2126 w 4343"/>
              <a:gd name="T113" fmla="*/ 1027 h 3525"/>
              <a:gd name="T114" fmla="*/ 2119 w 4343"/>
              <a:gd name="T115" fmla="*/ 804 h 3525"/>
              <a:gd name="T116" fmla="*/ 2177 w 4343"/>
              <a:gd name="T117" fmla="*/ 562 h 3525"/>
              <a:gd name="T118" fmla="*/ 2297 w 4343"/>
              <a:gd name="T119" fmla="*/ 352 h 3525"/>
              <a:gd name="T120" fmla="*/ 2467 w 4343"/>
              <a:gd name="T121" fmla="*/ 182 h 3525"/>
              <a:gd name="T122" fmla="*/ 2679 w 4343"/>
              <a:gd name="T123" fmla="*/ 62 h 3525"/>
              <a:gd name="T124" fmla="*/ 2920 w 4343"/>
              <a:gd name="T125" fmla="*/ 4 h 3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43" h="3525">
                <a:moveTo>
                  <a:pt x="3006" y="0"/>
                </a:moveTo>
                <a:lnTo>
                  <a:pt x="3092" y="4"/>
                </a:lnTo>
                <a:lnTo>
                  <a:pt x="3173" y="16"/>
                </a:lnTo>
                <a:lnTo>
                  <a:pt x="3254" y="35"/>
                </a:lnTo>
                <a:lnTo>
                  <a:pt x="3330" y="61"/>
                </a:lnTo>
                <a:lnTo>
                  <a:pt x="3404" y="92"/>
                </a:lnTo>
                <a:lnTo>
                  <a:pt x="3474" y="132"/>
                </a:lnTo>
                <a:lnTo>
                  <a:pt x="3540" y="175"/>
                </a:lnTo>
                <a:lnTo>
                  <a:pt x="3600" y="227"/>
                </a:lnTo>
                <a:lnTo>
                  <a:pt x="3657" y="281"/>
                </a:lnTo>
                <a:lnTo>
                  <a:pt x="3757" y="258"/>
                </a:lnTo>
                <a:lnTo>
                  <a:pt x="3856" y="231"/>
                </a:lnTo>
                <a:lnTo>
                  <a:pt x="3952" y="196"/>
                </a:lnTo>
                <a:lnTo>
                  <a:pt x="4045" y="158"/>
                </a:lnTo>
                <a:lnTo>
                  <a:pt x="4135" y="113"/>
                </a:lnTo>
                <a:lnTo>
                  <a:pt x="4223" y="65"/>
                </a:lnTo>
                <a:lnTo>
                  <a:pt x="4194" y="141"/>
                </a:lnTo>
                <a:lnTo>
                  <a:pt x="4160" y="215"/>
                </a:lnTo>
                <a:lnTo>
                  <a:pt x="4118" y="283"/>
                </a:lnTo>
                <a:lnTo>
                  <a:pt x="4070" y="348"/>
                </a:lnTo>
                <a:lnTo>
                  <a:pt x="4018" y="408"/>
                </a:lnTo>
                <a:lnTo>
                  <a:pt x="3961" y="463"/>
                </a:lnTo>
                <a:lnTo>
                  <a:pt x="3898" y="513"/>
                </a:lnTo>
                <a:lnTo>
                  <a:pt x="3831" y="558"/>
                </a:lnTo>
                <a:lnTo>
                  <a:pt x="3939" y="541"/>
                </a:lnTo>
                <a:lnTo>
                  <a:pt x="4043" y="519"/>
                </a:lnTo>
                <a:lnTo>
                  <a:pt x="4145" y="491"/>
                </a:lnTo>
                <a:lnTo>
                  <a:pt x="4246" y="457"/>
                </a:lnTo>
                <a:lnTo>
                  <a:pt x="4343" y="417"/>
                </a:lnTo>
                <a:lnTo>
                  <a:pt x="4280" y="504"/>
                </a:lnTo>
                <a:lnTo>
                  <a:pt x="4213" y="589"/>
                </a:lnTo>
                <a:lnTo>
                  <a:pt x="4142" y="667"/>
                </a:lnTo>
                <a:lnTo>
                  <a:pt x="4064" y="742"/>
                </a:lnTo>
                <a:lnTo>
                  <a:pt x="3983" y="814"/>
                </a:lnTo>
                <a:lnTo>
                  <a:pt x="3898" y="878"/>
                </a:lnTo>
                <a:lnTo>
                  <a:pt x="3900" y="994"/>
                </a:lnTo>
                <a:lnTo>
                  <a:pt x="3899" y="1095"/>
                </a:lnTo>
                <a:lnTo>
                  <a:pt x="3893" y="1196"/>
                </a:lnTo>
                <a:lnTo>
                  <a:pt x="3881" y="1299"/>
                </a:lnTo>
                <a:lnTo>
                  <a:pt x="3866" y="1402"/>
                </a:lnTo>
                <a:lnTo>
                  <a:pt x="3846" y="1504"/>
                </a:lnTo>
                <a:lnTo>
                  <a:pt x="3823" y="1607"/>
                </a:lnTo>
                <a:lnTo>
                  <a:pt x="3795" y="1708"/>
                </a:lnTo>
                <a:lnTo>
                  <a:pt x="3762" y="1810"/>
                </a:lnTo>
                <a:lnTo>
                  <a:pt x="3725" y="1910"/>
                </a:lnTo>
                <a:lnTo>
                  <a:pt x="3684" y="2010"/>
                </a:lnTo>
                <a:lnTo>
                  <a:pt x="3640" y="2108"/>
                </a:lnTo>
                <a:lnTo>
                  <a:pt x="3591" y="2204"/>
                </a:lnTo>
                <a:lnTo>
                  <a:pt x="3538" y="2299"/>
                </a:lnTo>
                <a:lnTo>
                  <a:pt x="3480" y="2393"/>
                </a:lnTo>
                <a:lnTo>
                  <a:pt x="3420" y="2483"/>
                </a:lnTo>
                <a:lnTo>
                  <a:pt x="3354" y="2573"/>
                </a:lnTo>
                <a:lnTo>
                  <a:pt x="3284" y="2658"/>
                </a:lnTo>
                <a:lnTo>
                  <a:pt x="3210" y="2741"/>
                </a:lnTo>
                <a:lnTo>
                  <a:pt x="3132" y="2821"/>
                </a:lnTo>
                <a:lnTo>
                  <a:pt x="3052" y="2899"/>
                </a:lnTo>
                <a:lnTo>
                  <a:pt x="2966" y="2973"/>
                </a:lnTo>
                <a:lnTo>
                  <a:pt x="2877" y="3043"/>
                </a:lnTo>
                <a:lnTo>
                  <a:pt x="2783" y="3110"/>
                </a:lnTo>
                <a:lnTo>
                  <a:pt x="2686" y="3172"/>
                </a:lnTo>
                <a:lnTo>
                  <a:pt x="2584" y="3229"/>
                </a:lnTo>
                <a:lnTo>
                  <a:pt x="2480" y="3282"/>
                </a:lnTo>
                <a:lnTo>
                  <a:pt x="2371" y="3331"/>
                </a:lnTo>
                <a:lnTo>
                  <a:pt x="2259" y="3375"/>
                </a:lnTo>
                <a:lnTo>
                  <a:pt x="2142" y="3414"/>
                </a:lnTo>
                <a:lnTo>
                  <a:pt x="2022" y="3447"/>
                </a:lnTo>
                <a:lnTo>
                  <a:pt x="1898" y="3474"/>
                </a:lnTo>
                <a:lnTo>
                  <a:pt x="1770" y="3497"/>
                </a:lnTo>
                <a:lnTo>
                  <a:pt x="1640" y="3512"/>
                </a:lnTo>
                <a:lnTo>
                  <a:pt x="1504" y="3523"/>
                </a:lnTo>
                <a:lnTo>
                  <a:pt x="1366" y="3525"/>
                </a:lnTo>
                <a:lnTo>
                  <a:pt x="1229" y="3522"/>
                </a:lnTo>
                <a:lnTo>
                  <a:pt x="1095" y="3511"/>
                </a:lnTo>
                <a:lnTo>
                  <a:pt x="963" y="3494"/>
                </a:lnTo>
                <a:lnTo>
                  <a:pt x="833" y="3469"/>
                </a:lnTo>
                <a:lnTo>
                  <a:pt x="705" y="3439"/>
                </a:lnTo>
                <a:lnTo>
                  <a:pt x="580" y="3400"/>
                </a:lnTo>
                <a:lnTo>
                  <a:pt x="457" y="3357"/>
                </a:lnTo>
                <a:lnTo>
                  <a:pt x="339" y="3308"/>
                </a:lnTo>
                <a:lnTo>
                  <a:pt x="223" y="3253"/>
                </a:lnTo>
                <a:lnTo>
                  <a:pt x="109" y="3193"/>
                </a:lnTo>
                <a:lnTo>
                  <a:pt x="0" y="3125"/>
                </a:lnTo>
                <a:lnTo>
                  <a:pt x="105" y="3135"/>
                </a:lnTo>
                <a:lnTo>
                  <a:pt x="212" y="3139"/>
                </a:lnTo>
                <a:lnTo>
                  <a:pt x="325" y="3135"/>
                </a:lnTo>
                <a:lnTo>
                  <a:pt x="436" y="3124"/>
                </a:lnTo>
                <a:lnTo>
                  <a:pt x="545" y="3107"/>
                </a:lnTo>
                <a:lnTo>
                  <a:pt x="652" y="3083"/>
                </a:lnTo>
                <a:lnTo>
                  <a:pt x="757" y="3054"/>
                </a:lnTo>
                <a:lnTo>
                  <a:pt x="859" y="3019"/>
                </a:lnTo>
                <a:lnTo>
                  <a:pt x="958" y="2977"/>
                </a:lnTo>
                <a:lnTo>
                  <a:pt x="1053" y="2929"/>
                </a:lnTo>
                <a:lnTo>
                  <a:pt x="1145" y="2878"/>
                </a:lnTo>
                <a:lnTo>
                  <a:pt x="1234" y="2820"/>
                </a:lnTo>
                <a:lnTo>
                  <a:pt x="1319" y="2757"/>
                </a:lnTo>
                <a:lnTo>
                  <a:pt x="1237" y="2752"/>
                </a:lnTo>
                <a:lnTo>
                  <a:pt x="1157" y="2739"/>
                </a:lnTo>
                <a:lnTo>
                  <a:pt x="1079" y="2720"/>
                </a:lnTo>
                <a:lnTo>
                  <a:pt x="1004" y="2694"/>
                </a:lnTo>
                <a:lnTo>
                  <a:pt x="931" y="2661"/>
                </a:lnTo>
                <a:lnTo>
                  <a:pt x="864" y="2623"/>
                </a:lnTo>
                <a:lnTo>
                  <a:pt x="800" y="2578"/>
                </a:lnTo>
                <a:lnTo>
                  <a:pt x="739" y="2528"/>
                </a:lnTo>
                <a:lnTo>
                  <a:pt x="684" y="2474"/>
                </a:lnTo>
                <a:lnTo>
                  <a:pt x="634" y="2415"/>
                </a:lnTo>
                <a:lnTo>
                  <a:pt x="588" y="2352"/>
                </a:lnTo>
                <a:lnTo>
                  <a:pt x="548" y="2285"/>
                </a:lnTo>
                <a:lnTo>
                  <a:pt x="514" y="2214"/>
                </a:lnTo>
                <a:lnTo>
                  <a:pt x="487" y="2139"/>
                </a:lnTo>
                <a:lnTo>
                  <a:pt x="541" y="2148"/>
                </a:lnTo>
                <a:lnTo>
                  <a:pt x="598" y="2153"/>
                </a:lnTo>
                <a:lnTo>
                  <a:pt x="655" y="2156"/>
                </a:lnTo>
                <a:lnTo>
                  <a:pt x="735" y="2152"/>
                </a:lnTo>
                <a:lnTo>
                  <a:pt x="813" y="2141"/>
                </a:lnTo>
                <a:lnTo>
                  <a:pt x="889" y="2124"/>
                </a:lnTo>
                <a:lnTo>
                  <a:pt x="809" y="2104"/>
                </a:lnTo>
                <a:lnTo>
                  <a:pt x="732" y="2077"/>
                </a:lnTo>
                <a:lnTo>
                  <a:pt x="659" y="2043"/>
                </a:lnTo>
                <a:lnTo>
                  <a:pt x="589" y="2003"/>
                </a:lnTo>
                <a:lnTo>
                  <a:pt x="523" y="1957"/>
                </a:lnTo>
                <a:lnTo>
                  <a:pt x="461" y="1906"/>
                </a:lnTo>
                <a:lnTo>
                  <a:pt x="406" y="1849"/>
                </a:lnTo>
                <a:lnTo>
                  <a:pt x="354" y="1787"/>
                </a:lnTo>
                <a:lnTo>
                  <a:pt x="308" y="1721"/>
                </a:lnTo>
                <a:lnTo>
                  <a:pt x="269" y="1650"/>
                </a:lnTo>
                <a:lnTo>
                  <a:pt x="236" y="1577"/>
                </a:lnTo>
                <a:lnTo>
                  <a:pt x="209" y="1499"/>
                </a:lnTo>
                <a:lnTo>
                  <a:pt x="190" y="1419"/>
                </a:lnTo>
                <a:lnTo>
                  <a:pt x="178" y="1336"/>
                </a:lnTo>
                <a:lnTo>
                  <a:pt x="174" y="1252"/>
                </a:lnTo>
                <a:lnTo>
                  <a:pt x="174" y="1240"/>
                </a:lnTo>
                <a:lnTo>
                  <a:pt x="236" y="1271"/>
                </a:lnTo>
                <a:lnTo>
                  <a:pt x="300" y="1298"/>
                </a:lnTo>
                <a:lnTo>
                  <a:pt x="366" y="1319"/>
                </a:lnTo>
                <a:lnTo>
                  <a:pt x="435" y="1335"/>
                </a:lnTo>
                <a:lnTo>
                  <a:pt x="506" y="1346"/>
                </a:lnTo>
                <a:lnTo>
                  <a:pt x="578" y="1352"/>
                </a:lnTo>
                <a:lnTo>
                  <a:pt x="515" y="1306"/>
                </a:lnTo>
                <a:lnTo>
                  <a:pt x="456" y="1253"/>
                </a:lnTo>
                <a:lnTo>
                  <a:pt x="402" y="1198"/>
                </a:lnTo>
                <a:lnTo>
                  <a:pt x="353" y="1136"/>
                </a:lnTo>
                <a:lnTo>
                  <a:pt x="310" y="1071"/>
                </a:lnTo>
                <a:lnTo>
                  <a:pt x="273" y="1002"/>
                </a:lnTo>
                <a:lnTo>
                  <a:pt x="241" y="929"/>
                </a:lnTo>
                <a:lnTo>
                  <a:pt x="215" y="853"/>
                </a:lnTo>
                <a:lnTo>
                  <a:pt x="196" y="775"/>
                </a:lnTo>
                <a:lnTo>
                  <a:pt x="186" y="694"/>
                </a:lnTo>
                <a:lnTo>
                  <a:pt x="182" y="611"/>
                </a:lnTo>
                <a:lnTo>
                  <a:pt x="186" y="529"/>
                </a:lnTo>
                <a:lnTo>
                  <a:pt x="196" y="452"/>
                </a:lnTo>
                <a:lnTo>
                  <a:pt x="213" y="375"/>
                </a:lnTo>
                <a:lnTo>
                  <a:pt x="237" y="302"/>
                </a:lnTo>
                <a:lnTo>
                  <a:pt x="267" y="231"/>
                </a:lnTo>
                <a:lnTo>
                  <a:pt x="303" y="163"/>
                </a:lnTo>
                <a:lnTo>
                  <a:pt x="387" y="262"/>
                </a:lnTo>
                <a:lnTo>
                  <a:pt x="477" y="356"/>
                </a:lnTo>
                <a:lnTo>
                  <a:pt x="572" y="445"/>
                </a:lnTo>
                <a:lnTo>
                  <a:pt x="670" y="531"/>
                </a:lnTo>
                <a:lnTo>
                  <a:pt x="773" y="610"/>
                </a:lnTo>
                <a:lnTo>
                  <a:pt x="881" y="685"/>
                </a:lnTo>
                <a:lnTo>
                  <a:pt x="993" y="753"/>
                </a:lnTo>
                <a:lnTo>
                  <a:pt x="1108" y="816"/>
                </a:lnTo>
                <a:lnTo>
                  <a:pt x="1226" y="873"/>
                </a:lnTo>
                <a:lnTo>
                  <a:pt x="1348" y="924"/>
                </a:lnTo>
                <a:lnTo>
                  <a:pt x="1473" y="969"/>
                </a:lnTo>
                <a:lnTo>
                  <a:pt x="1602" y="1008"/>
                </a:lnTo>
                <a:lnTo>
                  <a:pt x="1732" y="1040"/>
                </a:lnTo>
                <a:lnTo>
                  <a:pt x="1865" y="1065"/>
                </a:lnTo>
                <a:lnTo>
                  <a:pt x="2001" y="1082"/>
                </a:lnTo>
                <a:lnTo>
                  <a:pt x="2139" y="1092"/>
                </a:lnTo>
                <a:lnTo>
                  <a:pt x="2126" y="1027"/>
                </a:lnTo>
                <a:lnTo>
                  <a:pt x="2118" y="960"/>
                </a:lnTo>
                <a:lnTo>
                  <a:pt x="2116" y="890"/>
                </a:lnTo>
                <a:lnTo>
                  <a:pt x="2119" y="804"/>
                </a:lnTo>
                <a:lnTo>
                  <a:pt x="2131" y="721"/>
                </a:lnTo>
                <a:lnTo>
                  <a:pt x="2151" y="640"/>
                </a:lnTo>
                <a:lnTo>
                  <a:pt x="2177" y="562"/>
                </a:lnTo>
                <a:lnTo>
                  <a:pt x="2212" y="488"/>
                </a:lnTo>
                <a:lnTo>
                  <a:pt x="2251" y="417"/>
                </a:lnTo>
                <a:lnTo>
                  <a:pt x="2297" y="352"/>
                </a:lnTo>
                <a:lnTo>
                  <a:pt x="2349" y="290"/>
                </a:lnTo>
                <a:lnTo>
                  <a:pt x="2405" y="233"/>
                </a:lnTo>
                <a:lnTo>
                  <a:pt x="2467" y="182"/>
                </a:lnTo>
                <a:lnTo>
                  <a:pt x="2534" y="136"/>
                </a:lnTo>
                <a:lnTo>
                  <a:pt x="2604" y="96"/>
                </a:lnTo>
                <a:lnTo>
                  <a:pt x="2679" y="62"/>
                </a:lnTo>
                <a:lnTo>
                  <a:pt x="2757" y="36"/>
                </a:lnTo>
                <a:lnTo>
                  <a:pt x="2837" y="16"/>
                </a:lnTo>
                <a:lnTo>
                  <a:pt x="2920" y="4"/>
                </a:lnTo>
                <a:lnTo>
                  <a:pt x="3006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7" name="Group 46"/>
          <p:cNvGrpSpPr/>
          <p:nvPr/>
        </p:nvGrpSpPr>
        <p:grpSpPr>
          <a:xfrm>
            <a:off x="9378784" y="4482548"/>
            <a:ext cx="714376" cy="718058"/>
            <a:chOff x="10325912" y="3125157"/>
            <a:chExt cx="714376" cy="718058"/>
          </a:xfrm>
        </p:grpSpPr>
        <p:sp>
          <p:nvSpPr>
            <p:cNvPr id="38" name="Oval 37"/>
            <p:cNvSpPr/>
            <p:nvPr/>
          </p:nvSpPr>
          <p:spPr>
            <a:xfrm>
              <a:off x="10325912" y="3128840"/>
              <a:ext cx="714375" cy="7143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auto">
            <a:xfrm>
              <a:off x="10325913" y="3125157"/>
              <a:ext cx="714375" cy="715963"/>
            </a:xfrm>
            <a:custGeom>
              <a:avLst/>
              <a:gdLst>
                <a:gd name="T0" fmla="*/ 109 w 450"/>
                <a:gd name="T1" fmla="*/ 32 h 451"/>
                <a:gd name="T2" fmla="*/ 225 w 450"/>
                <a:gd name="T3" fmla="*/ 0 h 451"/>
                <a:gd name="T4" fmla="*/ 450 w 450"/>
                <a:gd name="T5" fmla="*/ 226 h 451"/>
                <a:gd name="T6" fmla="*/ 225 w 450"/>
                <a:gd name="T7" fmla="*/ 451 h 451"/>
                <a:gd name="T8" fmla="*/ 0 w 450"/>
                <a:gd name="T9" fmla="*/ 226 h 451"/>
                <a:gd name="T10" fmla="*/ 26 w 450"/>
                <a:gd name="T11" fmla="*/ 11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451">
                  <a:moveTo>
                    <a:pt x="109" y="32"/>
                  </a:moveTo>
                  <a:cubicBezTo>
                    <a:pt x="143" y="12"/>
                    <a:pt x="183" y="0"/>
                    <a:pt x="225" y="0"/>
                  </a:cubicBezTo>
                  <a:cubicBezTo>
                    <a:pt x="349" y="0"/>
                    <a:pt x="450" y="101"/>
                    <a:pt x="450" y="226"/>
                  </a:cubicBezTo>
                  <a:cubicBezTo>
                    <a:pt x="450" y="350"/>
                    <a:pt x="349" y="451"/>
                    <a:pt x="225" y="451"/>
                  </a:cubicBezTo>
                  <a:cubicBezTo>
                    <a:pt x="100" y="451"/>
                    <a:pt x="0" y="350"/>
                    <a:pt x="0" y="226"/>
                  </a:cubicBezTo>
                  <a:cubicBezTo>
                    <a:pt x="0" y="187"/>
                    <a:pt x="9" y="151"/>
                    <a:pt x="26" y="119"/>
                  </a:cubicBezTo>
                </a:path>
              </a:pathLst>
            </a:custGeom>
            <a:noFill/>
            <a:ln w="31750" cap="rnd">
              <a:solidFill>
                <a:srgbClr val="19191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Oval 49"/>
          <p:cNvSpPr/>
          <p:nvPr/>
        </p:nvSpPr>
        <p:spPr>
          <a:xfrm>
            <a:off x="9378784" y="2129108"/>
            <a:ext cx="714375" cy="714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9378785" y="2125425"/>
            <a:ext cx="714375" cy="715963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54"/>
          <p:cNvSpPr>
            <a:spLocks/>
          </p:cNvSpPr>
          <p:nvPr/>
        </p:nvSpPr>
        <p:spPr bwMode="auto">
          <a:xfrm>
            <a:off x="9620743" y="2298742"/>
            <a:ext cx="199978" cy="369328"/>
          </a:xfrm>
          <a:custGeom>
            <a:avLst/>
            <a:gdLst>
              <a:gd name="T0" fmla="*/ 1921 w 1996"/>
              <a:gd name="T1" fmla="*/ 1 h 3691"/>
              <a:gd name="T2" fmla="*/ 1959 w 1996"/>
              <a:gd name="T3" fmla="*/ 11 h 3691"/>
              <a:gd name="T4" fmla="*/ 1985 w 1996"/>
              <a:gd name="T5" fmla="*/ 38 h 3691"/>
              <a:gd name="T6" fmla="*/ 1996 w 1996"/>
              <a:gd name="T7" fmla="*/ 76 h 3691"/>
              <a:gd name="T8" fmla="*/ 1993 w 1996"/>
              <a:gd name="T9" fmla="*/ 660 h 3691"/>
              <a:gd name="T10" fmla="*/ 1974 w 1996"/>
              <a:gd name="T11" fmla="*/ 693 h 3691"/>
              <a:gd name="T12" fmla="*/ 1941 w 1996"/>
              <a:gd name="T13" fmla="*/ 712 h 3691"/>
              <a:gd name="T14" fmla="*/ 1598 w 1996"/>
              <a:gd name="T15" fmla="*/ 714 h 3691"/>
              <a:gd name="T16" fmla="*/ 1513 w 1996"/>
              <a:gd name="T17" fmla="*/ 720 h 3691"/>
              <a:gd name="T18" fmla="*/ 1448 w 1996"/>
              <a:gd name="T19" fmla="*/ 736 h 3691"/>
              <a:gd name="T20" fmla="*/ 1401 w 1996"/>
              <a:gd name="T21" fmla="*/ 762 h 3691"/>
              <a:gd name="T22" fmla="*/ 1369 w 1996"/>
              <a:gd name="T23" fmla="*/ 799 h 3691"/>
              <a:gd name="T24" fmla="*/ 1349 w 1996"/>
              <a:gd name="T25" fmla="*/ 846 h 3691"/>
              <a:gd name="T26" fmla="*/ 1338 w 1996"/>
              <a:gd name="T27" fmla="*/ 904 h 3691"/>
              <a:gd name="T28" fmla="*/ 1335 w 1996"/>
              <a:gd name="T29" fmla="*/ 972 h 3691"/>
              <a:gd name="T30" fmla="*/ 1898 w 1996"/>
              <a:gd name="T31" fmla="*/ 1327 h 3691"/>
              <a:gd name="T32" fmla="*/ 1937 w 1996"/>
              <a:gd name="T33" fmla="*/ 1337 h 3691"/>
              <a:gd name="T34" fmla="*/ 1964 w 1996"/>
              <a:gd name="T35" fmla="*/ 1364 h 3691"/>
              <a:gd name="T36" fmla="*/ 1974 w 1996"/>
              <a:gd name="T37" fmla="*/ 1402 h 3691"/>
              <a:gd name="T38" fmla="*/ 1971 w 1996"/>
              <a:gd name="T39" fmla="*/ 2029 h 3691"/>
              <a:gd name="T40" fmla="*/ 1951 w 1996"/>
              <a:gd name="T41" fmla="*/ 2062 h 3691"/>
              <a:gd name="T42" fmla="*/ 1918 w 1996"/>
              <a:gd name="T43" fmla="*/ 2081 h 3691"/>
              <a:gd name="T44" fmla="*/ 1335 w 1996"/>
              <a:gd name="T45" fmla="*/ 2085 h 3691"/>
              <a:gd name="T46" fmla="*/ 1333 w 1996"/>
              <a:gd name="T47" fmla="*/ 3636 h 3691"/>
              <a:gd name="T48" fmla="*/ 1313 w 1996"/>
              <a:gd name="T49" fmla="*/ 3669 h 3691"/>
              <a:gd name="T50" fmla="*/ 1279 w 1996"/>
              <a:gd name="T51" fmla="*/ 3688 h 3691"/>
              <a:gd name="T52" fmla="*/ 631 w 1996"/>
              <a:gd name="T53" fmla="*/ 3691 h 3691"/>
              <a:gd name="T54" fmla="*/ 594 w 1996"/>
              <a:gd name="T55" fmla="*/ 3681 h 3691"/>
              <a:gd name="T56" fmla="*/ 566 w 1996"/>
              <a:gd name="T57" fmla="*/ 3654 h 3691"/>
              <a:gd name="T58" fmla="*/ 556 w 1996"/>
              <a:gd name="T59" fmla="*/ 3615 h 3691"/>
              <a:gd name="T60" fmla="*/ 75 w 1996"/>
              <a:gd name="T61" fmla="*/ 2085 h 3691"/>
              <a:gd name="T62" fmla="*/ 36 w 1996"/>
              <a:gd name="T63" fmla="*/ 2075 h 3691"/>
              <a:gd name="T64" fmla="*/ 10 w 1996"/>
              <a:gd name="T65" fmla="*/ 2047 h 3691"/>
              <a:gd name="T66" fmla="*/ 0 w 1996"/>
              <a:gd name="T67" fmla="*/ 2009 h 3691"/>
              <a:gd name="T68" fmla="*/ 2 w 1996"/>
              <a:gd name="T69" fmla="*/ 1383 h 3691"/>
              <a:gd name="T70" fmla="*/ 22 w 1996"/>
              <a:gd name="T71" fmla="*/ 1350 h 3691"/>
              <a:gd name="T72" fmla="*/ 54 w 1996"/>
              <a:gd name="T73" fmla="*/ 1330 h 3691"/>
              <a:gd name="T74" fmla="*/ 556 w 1996"/>
              <a:gd name="T75" fmla="*/ 1327 h 3691"/>
              <a:gd name="T76" fmla="*/ 558 w 1996"/>
              <a:gd name="T77" fmla="*/ 827 h 3691"/>
              <a:gd name="T78" fmla="*/ 579 w 1996"/>
              <a:gd name="T79" fmla="*/ 673 h 3691"/>
              <a:gd name="T80" fmla="*/ 619 w 1996"/>
              <a:gd name="T81" fmla="*/ 534 h 3691"/>
              <a:gd name="T82" fmla="*/ 678 w 1996"/>
              <a:gd name="T83" fmla="*/ 408 h 3691"/>
              <a:gd name="T84" fmla="*/ 754 w 1996"/>
              <a:gd name="T85" fmla="*/ 297 h 3691"/>
              <a:gd name="T86" fmla="*/ 846 w 1996"/>
              <a:gd name="T87" fmla="*/ 201 h 3691"/>
              <a:gd name="T88" fmla="*/ 954 w 1996"/>
              <a:gd name="T89" fmla="*/ 124 h 3691"/>
              <a:gd name="T90" fmla="*/ 1077 w 1996"/>
              <a:gd name="T91" fmla="*/ 64 h 3691"/>
              <a:gd name="T92" fmla="*/ 1213 w 1996"/>
              <a:gd name="T93" fmla="*/ 23 h 3691"/>
              <a:gd name="T94" fmla="*/ 1363 w 1996"/>
              <a:gd name="T95" fmla="*/ 3 h 3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96" h="3691">
                <a:moveTo>
                  <a:pt x="1442" y="0"/>
                </a:moveTo>
                <a:lnTo>
                  <a:pt x="1921" y="1"/>
                </a:lnTo>
                <a:lnTo>
                  <a:pt x="1941" y="3"/>
                </a:lnTo>
                <a:lnTo>
                  <a:pt x="1959" y="11"/>
                </a:lnTo>
                <a:lnTo>
                  <a:pt x="1974" y="22"/>
                </a:lnTo>
                <a:lnTo>
                  <a:pt x="1985" y="38"/>
                </a:lnTo>
                <a:lnTo>
                  <a:pt x="1993" y="56"/>
                </a:lnTo>
                <a:lnTo>
                  <a:pt x="1996" y="76"/>
                </a:lnTo>
                <a:lnTo>
                  <a:pt x="1996" y="639"/>
                </a:lnTo>
                <a:lnTo>
                  <a:pt x="1993" y="660"/>
                </a:lnTo>
                <a:lnTo>
                  <a:pt x="1985" y="677"/>
                </a:lnTo>
                <a:lnTo>
                  <a:pt x="1974" y="693"/>
                </a:lnTo>
                <a:lnTo>
                  <a:pt x="1959" y="704"/>
                </a:lnTo>
                <a:lnTo>
                  <a:pt x="1941" y="712"/>
                </a:lnTo>
                <a:lnTo>
                  <a:pt x="1921" y="714"/>
                </a:lnTo>
                <a:lnTo>
                  <a:pt x="1598" y="714"/>
                </a:lnTo>
                <a:lnTo>
                  <a:pt x="1553" y="717"/>
                </a:lnTo>
                <a:lnTo>
                  <a:pt x="1513" y="720"/>
                </a:lnTo>
                <a:lnTo>
                  <a:pt x="1479" y="727"/>
                </a:lnTo>
                <a:lnTo>
                  <a:pt x="1448" y="736"/>
                </a:lnTo>
                <a:lnTo>
                  <a:pt x="1423" y="748"/>
                </a:lnTo>
                <a:lnTo>
                  <a:pt x="1401" y="762"/>
                </a:lnTo>
                <a:lnTo>
                  <a:pt x="1384" y="779"/>
                </a:lnTo>
                <a:lnTo>
                  <a:pt x="1369" y="799"/>
                </a:lnTo>
                <a:lnTo>
                  <a:pt x="1358" y="822"/>
                </a:lnTo>
                <a:lnTo>
                  <a:pt x="1349" y="846"/>
                </a:lnTo>
                <a:lnTo>
                  <a:pt x="1342" y="874"/>
                </a:lnTo>
                <a:lnTo>
                  <a:pt x="1338" y="904"/>
                </a:lnTo>
                <a:lnTo>
                  <a:pt x="1336" y="937"/>
                </a:lnTo>
                <a:lnTo>
                  <a:pt x="1335" y="972"/>
                </a:lnTo>
                <a:lnTo>
                  <a:pt x="1335" y="1327"/>
                </a:lnTo>
                <a:lnTo>
                  <a:pt x="1898" y="1327"/>
                </a:lnTo>
                <a:lnTo>
                  <a:pt x="1918" y="1329"/>
                </a:lnTo>
                <a:lnTo>
                  <a:pt x="1937" y="1337"/>
                </a:lnTo>
                <a:lnTo>
                  <a:pt x="1951" y="1350"/>
                </a:lnTo>
                <a:lnTo>
                  <a:pt x="1964" y="1364"/>
                </a:lnTo>
                <a:lnTo>
                  <a:pt x="1971" y="1383"/>
                </a:lnTo>
                <a:lnTo>
                  <a:pt x="1974" y="1402"/>
                </a:lnTo>
                <a:lnTo>
                  <a:pt x="1973" y="2009"/>
                </a:lnTo>
                <a:lnTo>
                  <a:pt x="1971" y="2029"/>
                </a:lnTo>
                <a:lnTo>
                  <a:pt x="1963" y="2047"/>
                </a:lnTo>
                <a:lnTo>
                  <a:pt x="1951" y="2062"/>
                </a:lnTo>
                <a:lnTo>
                  <a:pt x="1937" y="2075"/>
                </a:lnTo>
                <a:lnTo>
                  <a:pt x="1918" y="2081"/>
                </a:lnTo>
                <a:lnTo>
                  <a:pt x="1898" y="2085"/>
                </a:lnTo>
                <a:lnTo>
                  <a:pt x="1335" y="2085"/>
                </a:lnTo>
                <a:lnTo>
                  <a:pt x="1335" y="3615"/>
                </a:lnTo>
                <a:lnTo>
                  <a:pt x="1333" y="3636"/>
                </a:lnTo>
                <a:lnTo>
                  <a:pt x="1325" y="3654"/>
                </a:lnTo>
                <a:lnTo>
                  <a:pt x="1313" y="3669"/>
                </a:lnTo>
                <a:lnTo>
                  <a:pt x="1297" y="3681"/>
                </a:lnTo>
                <a:lnTo>
                  <a:pt x="1279" y="3688"/>
                </a:lnTo>
                <a:lnTo>
                  <a:pt x="1260" y="3691"/>
                </a:lnTo>
                <a:lnTo>
                  <a:pt x="631" y="3691"/>
                </a:lnTo>
                <a:lnTo>
                  <a:pt x="612" y="3688"/>
                </a:lnTo>
                <a:lnTo>
                  <a:pt x="594" y="3681"/>
                </a:lnTo>
                <a:lnTo>
                  <a:pt x="579" y="3669"/>
                </a:lnTo>
                <a:lnTo>
                  <a:pt x="566" y="3654"/>
                </a:lnTo>
                <a:lnTo>
                  <a:pt x="558" y="3636"/>
                </a:lnTo>
                <a:lnTo>
                  <a:pt x="556" y="3615"/>
                </a:lnTo>
                <a:lnTo>
                  <a:pt x="556" y="2085"/>
                </a:lnTo>
                <a:lnTo>
                  <a:pt x="75" y="2085"/>
                </a:lnTo>
                <a:lnTo>
                  <a:pt x="54" y="2081"/>
                </a:lnTo>
                <a:lnTo>
                  <a:pt x="36" y="2075"/>
                </a:lnTo>
                <a:lnTo>
                  <a:pt x="22" y="2062"/>
                </a:lnTo>
                <a:lnTo>
                  <a:pt x="10" y="2047"/>
                </a:lnTo>
                <a:lnTo>
                  <a:pt x="2" y="2029"/>
                </a:lnTo>
                <a:lnTo>
                  <a:pt x="0" y="2009"/>
                </a:lnTo>
                <a:lnTo>
                  <a:pt x="0" y="1402"/>
                </a:lnTo>
                <a:lnTo>
                  <a:pt x="2" y="1383"/>
                </a:lnTo>
                <a:lnTo>
                  <a:pt x="10" y="1364"/>
                </a:lnTo>
                <a:lnTo>
                  <a:pt x="22" y="1350"/>
                </a:lnTo>
                <a:lnTo>
                  <a:pt x="36" y="1337"/>
                </a:lnTo>
                <a:lnTo>
                  <a:pt x="54" y="1330"/>
                </a:lnTo>
                <a:lnTo>
                  <a:pt x="75" y="1327"/>
                </a:lnTo>
                <a:lnTo>
                  <a:pt x="556" y="1327"/>
                </a:lnTo>
                <a:lnTo>
                  <a:pt x="556" y="908"/>
                </a:lnTo>
                <a:lnTo>
                  <a:pt x="558" y="827"/>
                </a:lnTo>
                <a:lnTo>
                  <a:pt x="566" y="748"/>
                </a:lnTo>
                <a:lnTo>
                  <a:pt x="579" y="673"/>
                </a:lnTo>
                <a:lnTo>
                  <a:pt x="597" y="602"/>
                </a:lnTo>
                <a:lnTo>
                  <a:pt x="619" y="534"/>
                </a:lnTo>
                <a:lnTo>
                  <a:pt x="646" y="469"/>
                </a:lnTo>
                <a:lnTo>
                  <a:pt x="678" y="408"/>
                </a:lnTo>
                <a:lnTo>
                  <a:pt x="713" y="350"/>
                </a:lnTo>
                <a:lnTo>
                  <a:pt x="754" y="297"/>
                </a:lnTo>
                <a:lnTo>
                  <a:pt x="797" y="247"/>
                </a:lnTo>
                <a:lnTo>
                  <a:pt x="846" y="201"/>
                </a:lnTo>
                <a:lnTo>
                  <a:pt x="898" y="161"/>
                </a:lnTo>
                <a:lnTo>
                  <a:pt x="954" y="124"/>
                </a:lnTo>
                <a:lnTo>
                  <a:pt x="1014" y="91"/>
                </a:lnTo>
                <a:lnTo>
                  <a:pt x="1077" y="64"/>
                </a:lnTo>
                <a:lnTo>
                  <a:pt x="1143" y="42"/>
                </a:lnTo>
                <a:lnTo>
                  <a:pt x="1213" y="23"/>
                </a:lnTo>
                <a:lnTo>
                  <a:pt x="1286" y="11"/>
                </a:lnTo>
                <a:lnTo>
                  <a:pt x="1363" y="3"/>
                </a:lnTo>
                <a:lnTo>
                  <a:pt x="1442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23"/>
          <p:cNvSpPr>
            <a:spLocks noEditPoints="1"/>
          </p:cNvSpPr>
          <p:nvPr/>
        </p:nvSpPr>
        <p:spPr bwMode="auto">
          <a:xfrm>
            <a:off x="9524684" y="4700007"/>
            <a:ext cx="454721" cy="281043"/>
          </a:xfrm>
          <a:custGeom>
            <a:avLst/>
            <a:gdLst>
              <a:gd name="T0" fmla="*/ 1053 w 3456"/>
              <a:gd name="T1" fmla="*/ 1762 h 2139"/>
              <a:gd name="T2" fmla="*/ 1224 w 3456"/>
              <a:gd name="T3" fmla="*/ 1693 h 2139"/>
              <a:gd name="T4" fmla="*/ 1303 w 3456"/>
              <a:gd name="T5" fmla="*/ 1544 h 2139"/>
              <a:gd name="T6" fmla="*/ 1290 w 3456"/>
              <a:gd name="T7" fmla="*/ 1353 h 2139"/>
              <a:gd name="T8" fmla="*/ 1173 w 3456"/>
              <a:gd name="T9" fmla="*/ 1234 h 2139"/>
              <a:gd name="T10" fmla="*/ 957 w 3456"/>
              <a:gd name="T11" fmla="*/ 1197 h 2139"/>
              <a:gd name="T12" fmla="*/ 2571 w 3456"/>
              <a:gd name="T13" fmla="*/ 846 h 2139"/>
              <a:gd name="T14" fmla="*/ 2424 w 3456"/>
              <a:gd name="T15" fmla="*/ 948 h 2139"/>
              <a:gd name="T16" fmla="*/ 2344 w 3456"/>
              <a:gd name="T17" fmla="*/ 1156 h 2139"/>
              <a:gd name="T18" fmla="*/ 2997 w 3456"/>
              <a:gd name="T19" fmla="*/ 998 h 2139"/>
              <a:gd name="T20" fmla="*/ 2861 w 3456"/>
              <a:gd name="T21" fmla="*/ 867 h 2139"/>
              <a:gd name="T22" fmla="*/ 2691 w 3456"/>
              <a:gd name="T23" fmla="*/ 499 h 2139"/>
              <a:gd name="T24" fmla="*/ 2998 w 3456"/>
              <a:gd name="T25" fmla="*/ 549 h 2139"/>
              <a:gd name="T26" fmla="*/ 3243 w 3456"/>
              <a:gd name="T27" fmla="*/ 705 h 2139"/>
              <a:gd name="T28" fmla="*/ 3397 w 3456"/>
              <a:gd name="T29" fmla="*/ 946 h 2139"/>
              <a:gd name="T30" fmla="*/ 3451 w 3456"/>
              <a:gd name="T31" fmla="*/ 1195 h 2139"/>
              <a:gd name="T32" fmla="*/ 3456 w 3456"/>
              <a:gd name="T33" fmla="*/ 1419 h 2139"/>
              <a:gd name="T34" fmla="*/ 2370 w 3456"/>
              <a:gd name="T35" fmla="*/ 1597 h 2139"/>
              <a:gd name="T36" fmla="*/ 2495 w 3456"/>
              <a:gd name="T37" fmla="*/ 1743 h 2139"/>
              <a:gd name="T38" fmla="*/ 2717 w 3456"/>
              <a:gd name="T39" fmla="*/ 1801 h 2139"/>
              <a:gd name="T40" fmla="*/ 2910 w 3456"/>
              <a:gd name="T41" fmla="*/ 1752 h 2139"/>
              <a:gd name="T42" fmla="*/ 3023 w 3456"/>
              <a:gd name="T43" fmla="*/ 1624 h 2139"/>
              <a:gd name="T44" fmla="*/ 3361 w 3456"/>
              <a:gd name="T45" fmla="*/ 1809 h 2139"/>
              <a:gd name="T46" fmla="*/ 3146 w 3456"/>
              <a:gd name="T47" fmla="*/ 2016 h 2139"/>
              <a:gd name="T48" fmla="*/ 2849 w 3456"/>
              <a:gd name="T49" fmla="*/ 2116 h 2139"/>
              <a:gd name="T50" fmla="*/ 2485 w 3456"/>
              <a:gd name="T51" fmla="*/ 2098 h 2139"/>
              <a:gd name="T52" fmla="*/ 2164 w 3456"/>
              <a:gd name="T53" fmla="*/ 1937 h 2139"/>
              <a:gd name="T54" fmla="*/ 1998 w 3456"/>
              <a:gd name="T55" fmla="*/ 1716 h 2139"/>
              <a:gd name="T56" fmla="*/ 1930 w 3456"/>
              <a:gd name="T57" fmla="*/ 1398 h 2139"/>
              <a:gd name="T58" fmla="*/ 1963 w 3456"/>
              <a:gd name="T59" fmla="*/ 1034 h 2139"/>
              <a:gd name="T60" fmla="*/ 2100 w 3456"/>
              <a:gd name="T61" fmla="*/ 757 h 2139"/>
              <a:gd name="T62" fmla="*/ 2330 w 3456"/>
              <a:gd name="T63" fmla="*/ 576 h 2139"/>
              <a:gd name="T64" fmla="*/ 2624 w 3456"/>
              <a:gd name="T65" fmla="*/ 501 h 2139"/>
              <a:gd name="T66" fmla="*/ 996 w 3456"/>
              <a:gd name="T67" fmla="*/ 842 h 2139"/>
              <a:gd name="T68" fmla="*/ 1178 w 3456"/>
              <a:gd name="T69" fmla="*/ 791 h 2139"/>
              <a:gd name="T70" fmla="*/ 1259 w 3456"/>
              <a:gd name="T71" fmla="*/ 673 h 2139"/>
              <a:gd name="T72" fmla="*/ 1249 w 3456"/>
              <a:gd name="T73" fmla="*/ 505 h 2139"/>
              <a:gd name="T74" fmla="*/ 1150 w 3456"/>
              <a:gd name="T75" fmla="*/ 406 h 2139"/>
              <a:gd name="T76" fmla="*/ 896 w 3456"/>
              <a:gd name="T77" fmla="*/ 371 h 2139"/>
              <a:gd name="T78" fmla="*/ 2255 w 3456"/>
              <a:gd name="T79" fmla="*/ 304 h 2139"/>
              <a:gd name="T80" fmla="*/ 1174 w 3456"/>
              <a:gd name="T81" fmla="*/ 10 h 2139"/>
              <a:gd name="T82" fmla="*/ 1446 w 3456"/>
              <a:gd name="T83" fmla="*/ 95 h 2139"/>
              <a:gd name="T84" fmla="*/ 1621 w 3456"/>
              <a:gd name="T85" fmla="*/ 268 h 2139"/>
              <a:gd name="T86" fmla="*/ 1692 w 3456"/>
              <a:gd name="T87" fmla="*/ 501 h 2139"/>
              <a:gd name="T88" fmla="*/ 1661 w 3456"/>
              <a:gd name="T89" fmla="*/ 754 h 2139"/>
              <a:gd name="T90" fmla="*/ 1526 w 3456"/>
              <a:gd name="T91" fmla="*/ 934 h 2139"/>
              <a:gd name="T92" fmla="*/ 1556 w 3456"/>
              <a:gd name="T93" fmla="*/ 1056 h 2139"/>
              <a:gd name="T94" fmla="*/ 1704 w 3456"/>
              <a:gd name="T95" fmla="*/ 1225 h 2139"/>
              <a:gd name="T96" fmla="*/ 1763 w 3456"/>
              <a:gd name="T97" fmla="*/ 1494 h 2139"/>
              <a:gd name="T98" fmla="*/ 1697 w 3456"/>
              <a:gd name="T99" fmla="*/ 1784 h 2139"/>
              <a:gd name="T100" fmla="*/ 1514 w 3456"/>
              <a:gd name="T101" fmla="*/ 2003 h 2139"/>
              <a:gd name="T102" fmla="*/ 1272 w 3456"/>
              <a:gd name="T103" fmla="*/ 2111 h 2139"/>
              <a:gd name="T104" fmla="*/ 0 w 3456"/>
              <a:gd name="T105" fmla="*/ 2139 h 2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56" h="2139">
                <a:moveTo>
                  <a:pt x="496" y="1197"/>
                </a:moveTo>
                <a:lnTo>
                  <a:pt x="496" y="1768"/>
                </a:lnTo>
                <a:lnTo>
                  <a:pt x="951" y="1768"/>
                </a:lnTo>
                <a:lnTo>
                  <a:pt x="1004" y="1766"/>
                </a:lnTo>
                <a:lnTo>
                  <a:pt x="1053" y="1762"/>
                </a:lnTo>
                <a:lnTo>
                  <a:pt x="1095" y="1755"/>
                </a:lnTo>
                <a:lnTo>
                  <a:pt x="1134" y="1744"/>
                </a:lnTo>
                <a:lnTo>
                  <a:pt x="1168" y="1731"/>
                </a:lnTo>
                <a:lnTo>
                  <a:pt x="1198" y="1713"/>
                </a:lnTo>
                <a:lnTo>
                  <a:pt x="1224" y="1693"/>
                </a:lnTo>
                <a:lnTo>
                  <a:pt x="1246" y="1669"/>
                </a:lnTo>
                <a:lnTo>
                  <a:pt x="1266" y="1643"/>
                </a:lnTo>
                <a:lnTo>
                  <a:pt x="1282" y="1614"/>
                </a:lnTo>
                <a:lnTo>
                  <a:pt x="1293" y="1581"/>
                </a:lnTo>
                <a:lnTo>
                  <a:pt x="1303" y="1544"/>
                </a:lnTo>
                <a:lnTo>
                  <a:pt x="1308" y="1506"/>
                </a:lnTo>
                <a:lnTo>
                  <a:pt x="1309" y="1463"/>
                </a:lnTo>
                <a:lnTo>
                  <a:pt x="1307" y="1423"/>
                </a:lnTo>
                <a:lnTo>
                  <a:pt x="1301" y="1386"/>
                </a:lnTo>
                <a:lnTo>
                  <a:pt x="1290" y="1353"/>
                </a:lnTo>
                <a:lnTo>
                  <a:pt x="1276" y="1322"/>
                </a:lnTo>
                <a:lnTo>
                  <a:pt x="1256" y="1295"/>
                </a:lnTo>
                <a:lnTo>
                  <a:pt x="1233" y="1271"/>
                </a:lnTo>
                <a:lnTo>
                  <a:pt x="1204" y="1252"/>
                </a:lnTo>
                <a:lnTo>
                  <a:pt x="1173" y="1234"/>
                </a:lnTo>
                <a:lnTo>
                  <a:pt x="1139" y="1221"/>
                </a:lnTo>
                <a:lnTo>
                  <a:pt x="1102" y="1212"/>
                </a:lnTo>
                <a:lnTo>
                  <a:pt x="1059" y="1205"/>
                </a:lnTo>
                <a:lnTo>
                  <a:pt x="1011" y="1199"/>
                </a:lnTo>
                <a:lnTo>
                  <a:pt x="957" y="1197"/>
                </a:lnTo>
                <a:lnTo>
                  <a:pt x="496" y="1197"/>
                </a:lnTo>
                <a:close/>
                <a:moveTo>
                  <a:pt x="2691" y="830"/>
                </a:moveTo>
                <a:lnTo>
                  <a:pt x="2649" y="832"/>
                </a:lnTo>
                <a:lnTo>
                  <a:pt x="2609" y="837"/>
                </a:lnTo>
                <a:lnTo>
                  <a:pt x="2571" y="846"/>
                </a:lnTo>
                <a:lnTo>
                  <a:pt x="2536" y="859"/>
                </a:lnTo>
                <a:lnTo>
                  <a:pt x="2505" y="875"/>
                </a:lnTo>
                <a:lnTo>
                  <a:pt x="2477" y="895"/>
                </a:lnTo>
                <a:lnTo>
                  <a:pt x="2452" y="918"/>
                </a:lnTo>
                <a:lnTo>
                  <a:pt x="2424" y="948"/>
                </a:lnTo>
                <a:lnTo>
                  <a:pt x="2401" y="983"/>
                </a:lnTo>
                <a:lnTo>
                  <a:pt x="2381" y="1021"/>
                </a:lnTo>
                <a:lnTo>
                  <a:pt x="2366" y="1062"/>
                </a:lnTo>
                <a:lnTo>
                  <a:pt x="2353" y="1107"/>
                </a:lnTo>
                <a:lnTo>
                  <a:pt x="2344" y="1156"/>
                </a:lnTo>
                <a:lnTo>
                  <a:pt x="3038" y="1156"/>
                </a:lnTo>
                <a:lnTo>
                  <a:pt x="3033" y="1111"/>
                </a:lnTo>
                <a:lnTo>
                  <a:pt x="3025" y="1070"/>
                </a:lnTo>
                <a:lnTo>
                  <a:pt x="3012" y="1033"/>
                </a:lnTo>
                <a:lnTo>
                  <a:pt x="2997" y="998"/>
                </a:lnTo>
                <a:lnTo>
                  <a:pt x="2978" y="966"/>
                </a:lnTo>
                <a:lnTo>
                  <a:pt x="2955" y="938"/>
                </a:lnTo>
                <a:lnTo>
                  <a:pt x="2930" y="913"/>
                </a:lnTo>
                <a:lnTo>
                  <a:pt x="2897" y="888"/>
                </a:lnTo>
                <a:lnTo>
                  <a:pt x="2861" y="867"/>
                </a:lnTo>
                <a:lnTo>
                  <a:pt x="2822" y="850"/>
                </a:lnTo>
                <a:lnTo>
                  <a:pt x="2782" y="839"/>
                </a:lnTo>
                <a:lnTo>
                  <a:pt x="2738" y="833"/>
                </a:lnTo>
                <a:lnTo>
                  <a:pt x="2691" y="830"/>
                </a:lnTo>
                <a:close/>
                <a:moveTo>
                  <a:pt x="2691" y="499"/>
                </a:moveTo>
                <a:lnTo>
                  <a:pt x="2757" y="501"/>
                </a:lnTo>
                <a:lnTo>
                  <a:pt x="2821" y="508"/>
                </a:lnTo>
                <a:lnTo>
                  <a:pt x="2882" y="518"/>
                </a:lnTo>
                <a:lnTo>
                  <a:pt x="2942" y="532"/>
                </a:lnTo>
                <a:lnTo>
                  <a:pt x="2998" y="549"/>
                </a:lnTo>
                <a:lnTo>
                  <a:pt x="3054" y="571"/>
                </a:lnTo>
                <a:lnTo>
                  <a:pt x="3106" y="597"/>
                </a:lnTo>
                <a:lnTo>
                  <a:pt x="3154" y="629"/>
                </a:lnTo>
                <a:lnTo>
                  <a:pt x="3200" y="664"/>
                </a:lnTo>
                <a:lnTo>
                  <a:pt x="3243" y="705"/>
                </a:lnTo>
                <a:lnTo>
                  <a:pt x="3283" y="748"/>
                </a:lnTo>
                <a:lnTo>
                  <a:pt x="3320" y="798"/>
                </a:lnTo>
                <a:lnTo>
                  <a:pt x="3349" y="845"/>
                </a:lnTo>
                <a:lnTo>
                  <a:pt x="3375" y="894"/>
                </a:lnTo>
                <a:lnTo>
                  <a:pt x="3397" y="946"/>
                </a:lnTo>
                <a:lnTo>
                  <a:pt x="3416" y="1000"/>
                </a:lnTo>
                <a:lnTo>
                  <a:pt x="3431" y="1057"/>
                </a:lnTo>
                <a:lnTo>
                  <a:pt x="3442" y="1115"/>
                </a:lnTo>
                <a:lnTo>
                  <a:pt x="3447" y="1153"/>
                </a:lnTo>
                <a:lnTo>
                  <a:pt x="3451" y="1195"/>
                </a:lnTo>
                <a:lnTo>
                  <a:pt x="3454" y="1244"/>
                </a:lnTo>
                <a:lnTo>
                  <a:pt x="3455" y="1297"/>
                </a:lnTo>
                <a:lnTo>
                  <a:pt x="3456" y="1355"/>
                </a:lnTo>
                <a:lnTo>
                  <a:pt x="3456" y="1358"/>
                </a:lnTo>
                <a:lnTo>
                  <a:pt x="3456" y="1419"/>
                </a:lnTo>
                <a:lnTo>
                  <a:pt x="2334" y="1419"/>
                </a:lnTo>
                <a:lnTo>
                  <a:pt x="2338" y="1469"/>
                </a:lnTo>
                <a:lnTo>
                  <a:pt x="2345" y="1515"/>
                </a:lnTo>
                <a:lnTo>
                  <a:pt x="2356" y="1558"/>
                </a:lnTo>
                <a:lnTo>
                  <a:pt x="2370" y="1597"/>
                </a:lnTo>
                <a:lnTo>
                  <a:pt x="2389" y="1633"/>
                </a:lnTo>
                <a:lnTo>
                  <a:pt x="2410" y="1666"/>
                </a:lnTo>
                <a:lnTo>
                  <a:pt x="2435" y="1695"/>
                </a:lnTo>
                <a:lnTo>
                  <a:pt x="2463" y="1720"/>
                </a:lnTo>
                <a:lnTo>
                  <a:pt x="2495" y="1743"/>
                </a:lnTo>
                <a:lnTo>
                  <a:pt x="2533" y="1764"/>
                </a:lnTo>
                <a:lnTo>
                  <a:pt x="2574" y="1780"/>
                </a:lnTo>
                <a:lnTo>
                  <a:pt x="2619" y="1791"/>
                </a:lnTo>
                <a:lnTo>
                  <a:pt x="2666" y="1798"/>
                </a:lnTo>
                <a:lnTo>
                  <a:pt x="2717" y="1801"/>
                </a:lnTo>
                <a:lnTo>
                  <a:pt x="2762" y="1798"/>
                </a:lnTo>
                <a:lnTo>
                  <a:pt x="2803" y="1792"/>
                </a:lnTo>
                <a:lnTo>
                  <a:pt x="2841" y="1783"/>
                </a:lnTo>
                <a:lnTo>
                  <a:pt x="2878" y="1769"/>
                </a:lnTo>
                <a:lnTo>
                  <a:pt x="2910" y="1752"/>
                </a:lnTo>
                <a:lnTo>
                  <a:pt x="2941" y="1730"/>
                </a:lnTo>
                <a:lnTo>
                  <a:pt x="2964" y="1709"/>
                </a:lnTo>
                <a:lnTo>
                  <a:pt x="2985" y="1685"/>
                </a:lnTo>
                <a:lnTo>
                  <a:pt x="3005" y="1657"/>
                </a:lnTo>
                <a:lnTo>
                  <a:pt x="3023" y="1624"/>
                </a:lnTo>
                <a:lnTo>
                  <a:pt x="3434" y="1624"/>
                </a:lnTo>
                <a:lnTo>
                  <a:pt x="3426" y="1670"/>
                </a:lnTo>
                <a:lnTo>
                  <a:pt x="3411" y="1716"/>
                </a:lnTo>
                <a:lnTo>
                  <a:pt x="3389" y="1762"/>
                </a:lnTo>
                <a:lnTo>
                  <a:pt x="3361" y="1809"/>
                </a:lnTo>
                <a:lnTo>
                  <a:pt x="3326" y="1855"/>
                </a:lnTo>
                <a:lnTo>
                  <a:pt x="3285" y="1902"/>
                </a:lnTo>
                <a:lnTo>
                  <a:pt x="3242" y="1944"/>
                </a:lnTo>
                <a:lnTo>
                  <a:pt x="3196" y="1982"/>
                </a:lnTo>
                <a:lnTo>
                  <a:pt x="3146" y="2016"/>
                </a:lnTo>
                <a:lnTo>
                  <a:pt x="3094" y="2045"/>
                </a:lnTo>
                <a:lnTo>
                  <a:pt x="3037" y="2069"/>
                </a:lnTo>
                <a:lnTo>
                  <a:pt x="2977" y="2090"/>
                </a:lnTo>
                <a:lnTo>
                  <a:pt x="2915" y="2106"/>
                </a:lnTo>
                <a:lnTo>
                  <a:pt x="2849" y="2116"/>
                </a:lnTo>
                <a:lnTo>
                  <a:pt x="2778" y="2123"/>
                </a:lnTo>
                <a:lnTo>
                  <a:pt x="2706" y="2126"/>
                </a:lnTo>
                <a:lnTo>
                  <a:pt x="2630" y="2122"/>
                </a:lnTo>
                <a:lnTo>
                  <a:pt x="2556" y="2114"/>
                </a:lnTo>
                <a:lnTo>
                  <a:pt x="2485" y="2098"/>
                </a:lnTo>
                <a:lnTo>
                  <a:pt x="2416" y="2079"/>
                </a:lnTo>
                <a:lnTo>
                  <a:pt x="2350" y="2052"/>
                </a:lnTo>
                <a:lnTo>
                  <a:pt x="2285" y="2019"/>
                </a:lnTo>
                <a:lnTo>
                  <a:pt x="2223" y="1981"/>
                </a:lnTo>
                <a:lnTo>
                  <a:pt x="2164" y="1937"/>
                </a:lnTo>
                <a:lnTo>
                  <a:pt x="2123" y="1901"/>
                </a:lnTo>
                <a:lnTo>
                  <a:pt x="2085" y="1861"/>
                </a:lnTo>
                <a:lnTo>
                  <a:pt x="2053" y="1816"/>
                </a:lnTo>
                <a:lnTo>
                  <a:pt x="2023" y="1768"/>
                </a:lnTo>
                <a:lnTo>
                  <a:pt x="1998" y="1716"/>
                </a:lnTo>
                <a:lnTo>
                  <a:pt x="1977" y="1661"/>
                </a:lnTo>
                <a:lnTo>
                  <a:pt x="1959" y="1602"/>
                </a:lnTo>
                <a:lnTo>
                  <a:pt x="1946" y="1537"/>
                </a:lnTo>
                <a:lnTo>
                  <a:pt x="1936" y="1470"/>
                </a:lnTo>
                <a:lnTo>
                  <a:pt x="1930" y="1398"/>
                </a:lnTo>
                <a:lnTo>
                  <a:pt x="1928" y="1323"/>
                </a:lnTo>
                <a:lnTo>
                  <a:pt x="1930" y="1245"/>
                </a:lnTo>
                <a:lnTo>
                  <a:pt x="1936" y="1171"/>
                </a:lnTo>
                <a:lnTo>
                  <a:pt x="1948" y="1100"/>
                </a:lnTo>
                <a:lnTo>
                  <a:pt x="1963" y="1034"/>
                </a:lnTo>
                <a:lnTo>
                  <a:pt x="1981" y="971"/>
                </a:lnTo>
                <a:lnTo>
                  <a:pt x="2004" y="912"/>
                </a:lnTo>
                <a:lnTo>
                  <a:pt x="2032" y="857"/>
                </a:lnTo>
                <a:lnTo>
                  <a:pt x="2064" y="805"/>
                </a:lnTo>
                <a:lnTo>
                  <a:pt x="2100" y="757"/>
                </a:lnTo>
                <a:lnTo>
                  <a:pt x="2141" y="712"/>
                </a:lnTo>
                <a:lnTo>
                  <a:pt x="2185" y="672"/>
                </a:lnTo>
                <a:lnTo>
                  <a:pt x="2231" y="636"/>
                </a:lnTo>
                <a:lnTo>
                  <a:pt x="2279" y="604"/>
                </a:lnTo>
                <a:lnTo>
                  <a:pt x="2330" y="576"/>
                </a:lnTo>
                <a:lnTo>
                  <a:pt x="2385" y="553"/>
                </a:lnTo>
                <a:lnTo>
                  <a:pt x="2441" y="534"/>
                </a:lnTo>
                <a:lnTo>
                  <a:pt x="2500" y="519"/>
                </a:lnTo>
                <a:lnTo>
                  <a:pt x="2561" y="509"/>
                </a:lnTo>
                <a:lnTo>
                  <a:pt x="2624" y="501"/>
                </a:lnTo>
                <a:lnTo>
                  <a:pt x="2691" y="499"/>
                </a:lnTo>
                <a:close/>
                <a:moveTo>
                  <a:pt x="496" y="371"/>
                </a:moveTo>
                <a:lnTo>
                  <a:pt x="496" y="844"/>
                </a:lnTo>
                <a:lnTo>
                  <a:pt x="951" y="844"/>
                </a:lnTo>
                <a:lnTo>
                  <a:pt x="996" y="842"/>
                </a:lnTo>
                <a:lnTo>
                  <a:pt x="1039" y="838"/>
                </a:lnTo>
                <a:lnTo>
                  <a:pt x="1078" y="831"/>
                </a:lnTo>
                <a:lnTo>
                  <a:pt x="1114" y="820"/>
                </a:lnTo>
                <a:lnTo>
                  <a:pt x="1148" y="807"/>
                </a:lnTo>
                <a:lnTo>
                  <a:pt x="1178" y="791"/>
                </a:lnTo>
                <a:lnTo>
                  <a:pt x="1201" y="773"/>
                </a:lnTo>
                <a:lnTo>
                  <a:pt x="1221" y="754"/>
                </a:lnTo>
                <a:lnTo>
                  <a:pt x="1237" y="731"/>
                </a:lnTo>
                <a:lnTo>
                  <a:pt x="1249" y="704"/>
                </a:lnTo>
                <a:lnTo>
                  <a:pt x="1259" y="673"/>
                </a:lnTo>
                <a:lnTo>
                  <a:pt x="1264" y="640"/>
                </a:lnTo>
                <a:lnTo>
                  <a:pt x="1265" y="603"/>
                </a:lnTo>
                <a:lnTo>
                  <a:pt x="1264" y="567"/>
                </a:lnTo>
                <a:lnTo>
                  <a:pt x="1258" y="534"/>
                </a:lnTo>
                <a:lnTo>
                  <a:pt x="1249" y="505"/>
                </a:lnTo>
                <a:lnTo>
                  <a:pt x="1237" y="479"/>
                </a:lnTo>
                <a:lnTo>
                  <a:pt x="1220" y="456"/>
                </a:lnTo>
                <a:lnTo>
                  <a:pt x="1200" y="436"/>
                </a:lnTo>
                <a:lnTo>
                  <a:pt x="1177" y="419"/>
                </a:lnTo>
                <a:lnTo>
                  <a:pt x="1150" y="406"/>
                </a:lnTo>
                <a:lnTo>
                  <a:pt x="1108" y="393"/>
                </a:lnTo>
                <a:lnTo>
                  <a:pt x="1062" y="384"/>
                </a:lnTo>
                <a:lnTo>
                  <a:pt x="1011" y="377"/>
                </a:lnTo>
                <a:lnTo>
                  <a:pt x="956" y="373"/>
                </a:lnTo>
                <a:lnTo>
                  <a:pt x="896" y="371"/>
                </a:lnTo>
                <a:lnTo>
                  <a:pt x="496" y="371"/>
                </a:lnTo>
                <a:close/>
                <a:moveTo>
                  <a:pt x="2255" y="89"/>
                </a:moveTo>
                <a:lnTo>
                  <a:pt x="3121" y="89"/>
                </a:lnTo>
                <a:lnTo>
                  <a:pt x="3121" y="304"/>
                </a:lnTo>
                <a:lnTo>
                  <a:pt x="2255" y="304"/>
                </a:lnTo>
                <a:lnTo>
                  <a:pt x="2255" y="89"/>
                </a:lnTo>
                <a:close/>
                <a:moveTo>
                  <a:pt x="0" y="0"/>
                </a:moveTo>
                <a:lnTo>
                  <a:pt x="1039" y="0"/>
                </a:lnTo>
                <a:lnTo>
                  <a:pt x="1108" y="4"/>
                </a:lnTo>
                <a:lnTo>
                  <a:pt x="1174" y="10"/>
                </a:lnTo>
                <a:lnTo>
                  <a:pt x="1236" y="20"/>
                </a:lnTo>
                <a:lnTo>
                  <a:pt x="1294" y="34"/>
                </a:lnTo>
                <a:lnTo>
                  <a:pt x="1348" y="50"/>
                </a:lnTo>
                <a:lnTo>
                  <a:pt x="1399" y="71"/>
                </a:lnTo>
                <a:lnTo>
                  <a:pt x="1446" y="95"/>
                </a:lnTo>
                <a:lnTo>
                  <a:pt x="1489" y="123"/>
                </a:lnTo>
                <a:lnTo>
                  <a:pt x="1528" y="155"/>
                </a:lnTo>
                <a:lnTo>
                  <a:pt x="1564" y="190"/>
                </a:lnTo>
                <a:lnTo>
                  <a:pt x="1595" y="229"/>
                </a:lnTo>
                <a:lnTo>
                  <a:pt x="1621" y="268"/>
                </a:lnTo>
                <a:lnTo>
                  <a:pt x="1644" y="311"/>
                </a:lnTo>
                <a:lnTo>
                  <a:pt x="1662" y="355"/>
                </a:lnTo>
                <a:lnTo>
                  <a:pt x="1676" y="401"/>
                </a:lnTo>
                <a:lnTo>
                  <a:pt x="1686" y="450"/>
                </a:lnTo>
                <a:lnTo>
                  <a:pt x="1692" y="501"/>
                </a:lnTo>
                <a:lnTo>
                  <a:pt x="1693" y="555"/>
                </a:lnTo>
                <a:lnTo>
                  <a:pt x="1691" y="610"/>
                </a:lnTo>
                <a:lnTo>
                  <a:pt x="1686" y="661"/>
                </a:lnTo>
                <a:lnTo>
                  <a:pt x="1676" y="709"/>
                </a:lnTo>
                <a:lnTo>
                  <a:pt x="1661" y="754"/>
                </a:lnTo>
                <a:lnTo>
                  <a:pt x="1643" y="795"/>
                </a:lnTo>
                <a:lnTo>
                  <a:pt x="1621" y="834"/>
                </a:lnTo>
                <a:lnTo>
                  <a:pt x="1595" y="869"/>
                </a:lnTo>
                <a:lnTo>
                  <a:pt x="1564" y="903"/>
                </a:lnTo>
                <a:lnTo>
                  <a:pt x="1526" y="934"/>
                </a:lnTo>
                <a:lnTo>
                  <a:pt x="1482" y="963"/>
                </a:lnTo>
                <a:lnTo>
                  <a:pt x="1431" y="991"/>
                </a:lnTo>
                <a:lnTo>
                  <a:pt x="1476" y="1010"/>
                </a:lnTo>
                <a:lnTo>
                  <a:pt x="1517" y="1032"/>
                </a:lnTo>
                <a:lnTo>
                  <a:pt x="1556" y="1056"/>
                </a:lnTo>
                <a:lnTo>
                  <a:pt x="1592" y="1083"/>
                </a:lnTo>
                <a:lnTo>
                  <a:pt x="1624" y="1112"/>
                </a:lnTo>
                <a:lnTo>
                  <a:pt x="1654" y="1145"/>
                </a:lnTo>
                <a:lnTo>
                  <a:pt x="1679" y="1181"/>
                </a:lnTo>
                <a:lnTo>
                  <a:pt x="1704" y="1225"/>
                </a:lnTo>
                <a:lnTo>
                  <a:pt x="1725" y="1272"/>
                </a:lnTo>
                <a:lnTo>
                  <a:pt x="1742" y="1323"/>
                </a:lnTo>
                <a:lnTo>
                  <a:pt x="1753" y="1378"/>
                </a:lnTo>
                <a:lnTo>
                  <a:pt x="1760" y="1434"/>
                </a:lnTo>
                <a:lnTo>
                  <a:pt x="1763" y="1494"/>
                </a:lnTo>
                <a:lnTo>
                  <a:pt x="1759" y="1556"/>
                </a:lnTo>
                <a:lnTo>
                  <a:pt x="1752" y="1616"/>
                </a:lnTo>
                <a:lnTo>
                  <a:pt x="1738" y="1674"/>
                </a:lnTo>
                <a:lnTo>
                  <a:pt x="1721" y="1730"/>
                </a:lnTo>
                <a:lnTo>
                  <a:pt x="1697" y="1784"/>
                </a:lnTo>
                <a:lnTo>
                  <a:pt x="1667" y="1835"/>
                </a:lnTo>
                <a:lnTo>
                  <a:pt x="1635" y="1883"/>
                </a:lnTo>
                <a:lnTo>
                  <a:pt x="1598" y="1927"/>
                </a:lnTo>
                <a:lnTo>
                  <a:pt x="1558" y="1967"/>
                </a:lnTo>
                <a:lnTo>
                  <a:pt x="1514" y="2003"/>
                </a:lnTo>
                <a:lnTo>
                  <a:pt x="1472" y="2033"/>
                </a:lnTo>
                <a:lnTo>
                  <a:pt x="1426" y="2058"/>
                </a:lnTo>
                <a:lnTo>
                  <a:pt x="1378" y="2080"/>
                </a:lnTo>
                <a:lnTo>
                  <a:pt x="1327" y="2097"/>
                </a:lnTo>
                <a:lnTo>
                  <a:pt x="1272" y="2111"/>
                </a:lnTo>
                <a:lnTo>
                  <a:pt x="1200" y="2123"/>
                </a:lnTo>
                <a:lnTo>
                  <a:pt x="1126" y="2132"/>
                </a:lnTo>
                <a:lnTo>
                  <a:pt x="1048" y="2138"/>
                </a:lnTo>
                <a:lnTo>
                  <a:pt x="969" y="2139"/>
                </a:lnTo>
                <a:lnTo>
                  <a:pt x="0" y="21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4008293" y="1991708"/>
            <a:ext cx="1649079" cy="856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50000"/>
              </a:lnSpc>
            </a:pP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accent3"/>
                </a:solidFill>
                <a:latin typeface="Source Sans Pro Light" panose="020B0403030403020204" pitchFamily="34" charset="-18"/>
              </a:rPr>
              <a:t>.</a:t>
            </a:r>
            <a:endParaRPr lang="en-US" sz="12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008293" y="4383319"/>
            <a:ext cx="1649079" cy="856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50000"/>
              </a:lnSpc>
            </a:pP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accent3"/>
                </a:solidFill>
                <a:latin typeface="Source Sans Pro Light" panose="020B0403030403020204" pitchFamily="34" charset="-18"/>
              </a:rPr>
              <a:t>.</a:t>
            </a:r>
            <a:endParaRPr lang="en-US" sz="12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0138734" y="1991708"/>
            <a:ext cx="1649079" cy="856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accent3"/>
                </a:solidFill>
                <a:latin typeface="Source Sans Pro Light" panose="020B0403030403020204" pitchFamily="34" charset="-18"/>
              </a:rPr>
              <a:t>.</a:t>
            </a:r>
            <a:endParaRPr lang="en-US" sz="12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0138734" y="4383319"/>
            <a:ext cx="1649079" cy="856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>
                <a:solidFill>
                  <a:schemeClr val="accent3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accent3"/>
                </a:solidFill>
                <a:latin typeface="Source Sans Pro Light" panose="020B0403030403020204" pitchFamily="34" charset="-18"/>
              </a:rPr>
              <a:t>.</a:t>
            </a:r>
            <a:endParaRPr lang="en-US" sz="12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008293" y="1625774"/>
            <a:ext cx="1649079" cy="294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50000"/>
              </a:lnSpc>
            </a:pPr>
            <a:r>
              <a:rPr lang="pl-PL" dirty="0" smtClean="0">
                <a:solidFill>
                  <a:schemeClr val="accent3"/>
                </a:solidFill>
                <a:latin typeface="Source Sans Pro Black" panose="020B0803030403020204" pitchFamily="34" charset="-18"/>
              </a:rPr>
              <a:t>TITLE</a:t>
            </a:r>
            <a:endParaRPr lang="en-US" dirty="0">
              <a:solidFill>
                <a:schemeClr val="accent3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008293" y="4052344"/>
            <a:ext cx="1649079" cy="294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150000"/>
              </a:lnSpc>
            </a:pPr>
            <a:r>
              <a:rPr lang="pl-PL" dirty="0" smtClean="0">
                <a:solidFill>
                  <a:schemeClr val="accent3"/>
                </a:solidFill>
                <a:latin typeface="Source Sans Pro Black" panose="020B0803030403020204" pitchFamily="34" charset="-18"/>
              </a:rPr>
              <a:t>TITLE</a:t>
            </a:r>
            <a:endParaRPr lang="en-US" dirty="0">
              <a:solidFill>
                <a:schemeClr val="accent3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0195884" y="1625774"/>
            <a:ext cx="1649079" cy="294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l-PL" dirty="0" smtClean="0">
                <a:solidFill>
                  <a:schemeClr val="accent3"/>
                </a:solidFill>
                <a:latin typeface="Source Sans Pro Black" panose="020B0803030403020204" pitchFamily="34" charset="-18"/>
              </a:rPr>
              <a:t>TITLE</a:t>
            </a:r>
            <a:endParaRPr lang="en-US" dirty="0">
              <a:solidFill>
                <a:schemeClr val="accent3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0195884" y="4052344"/>
            <a:ext cx="1649079" cy="294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l-PL" dirty="0" smtClean="0">
                <a:solidFill>
                  <a:schemeClr val="accent3"/>
                </a:solidFill>
                <a:latin typeface="Source Sans Pro Black" panose="020B0803030403020204" pitchFamily="34" charset="-18"/>
              </a:rPr>
              <a:t>TITLE</a:t>
            </a:r>
            <a:endParaRPr lang="en-US" dirty="0">
              <a:solidFill>
                <a:schemeClr val="accent3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7121339" y="2335942"/>
            <a:ext cx="1649079" cy="294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l-PL" sz="1400" dirty="0" err="1" smtClean="0">
                <a:solidFill>
                  <a:schemeClr val="accent3"/>
                </a:solidFill>
              </a:rPr>
              <a:t>Social</a:t>
            </a:r>
            <a:r>
              <a:rPr lang="pl-PL" sz="1400" dirty="0" smtClean="0">
                <a:solidFill>
                  <a:schemeClr val="accent3"/>
                </a:solidFill>
              </a:rPr>
              <a:t> media</a:t>
            </a:r>
            <a:endParaRPr lang="en-US" sz="1400" dirty="0">
              <a:solidFill>
                <a:schemeClr val="accent3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 smtClean="0"/>
              <a:t>Social</a:t>
            </a:r>
            <a:r>
              <a:rPr lang="pl-PL" dirty="0" smtClean="0"/>
              <a:t> media</a:t>
            </a:r>
            <a:endParaRPr lang="en-US" dirty="0"/>
          </a:p>
        </p:txBody>
      </p:sp>
      <p:sp>
        <p:nvSpPr>
          <p:cNvPr id="56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34497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87863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51" t="2155" r="28704" b="30180"/>
          <a:stretch/>
        </p:blipFill>
        <p:spPr/>
      </p:pic>
      <p:sp>
        <p:nvSpPr>
          <p:cNvPr id="20" name="Title 1"/>
          <p:cNvSpPr txBox="1">
            <a:spLocks/>
          </p:cNvSpPr>
          <p:nvPr/>
        </p:nvSpPr>
        <p:spPr>
          <a:xfrm>
            <a:off x="335087" y="800100"/>
            <a:ext cx="3847419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00"/>
              </a:lnSpc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20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err="1" smtClean="0"/>
              <a:t>Kotio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415501" y="787400"/>
            <a:ext cx="5979048" cy="3737429"/>
          </a:xfrm>
          <a:prstGeom prst="rect">
            <a:avLst/>
          </a:prstGeom>
          <a:noFill/>
          <a:ln w="127000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3496706" y="4573813"/>
            <a:ext cx="854645" cy="0"/>
          </a:xfrm>
          <a:prstGeom prst="line">
            <a:avLst/>
          </a:prstGeom>
          <a:ln>
            <a:solidFill>
              <a:srgbClr val="1A25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54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377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3642" y="1008205"/>
            <a:ext cx="6153419" cy="2981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2724" y="1375238"/>
            <a:ext cx="7035254" cy="340908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531" y="1786814"/>
            <a:ext cx="7427641" cy="359922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0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dirty="0" err="1" smtClean="0"/>
              <a:t>Table</a:t>
            </a:r>
            <a:endParaRPr lang="en-US" dirty="0"/>
          </a:p>
        </p:txBody>
      </p:sp>
      <p:sp>
        <p:nvSpPr>
          <p:cNvPr id="12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17" name="Rectangle 16"/>
          <p:cNvSpPr/>
          <p:nvPr/>
        </p:nvSpPr>
        <p:spPr>
          <a:xfrm>
            <a:off x="3846286" y="49506"/>
            <a:ext cx="8345714" cy="6866549"/>
          </a:xfrm>
          <a:prstGeom prst="rect">
            <a:avLst/>
          </a:prstGeom>
          <a:solidFill>
            <a:srgbClr val="FFFFFF">
              <a:alpha val="69804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0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2653614"/>
              </p:ext>
            </p:extLst>
          </p:nvPr>
        </p:nvGraphicFramePr>
        <p:xfrm>
          <a:off x="3970336" y="2214783"/>
          <a:ext cx="7820030" cy="37814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64006"/>
                <a:gridCol w="1564006"/>
                <a:gridCol w="1564006"/>
                <a:gridCol w="1564006"/>
                <a:gridCol w="1564006"/>
              </a:tblGrid>
              <a:tr h="343766">
                <a:tc>
                  <a:txBody>
                    <a:bodyPr/>
                    <a:lstStyle/>
                    <a:p>
                      <a:endParaRPr lang="en-US" sz="1200" b="0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cap="none" spc="-20" baseline="0" dirty="0" smtClean="0">
                          <a:solidFill>
                            <a:schemeClr val="tx1"/>
                          </a:solidFill>
                          <a:latin typeface="Source Sans Pro Black" panose="020B0803030403020204" pitchFamily="34" charset="-18"/>
                          <a:ea typeface="Source Sans Pro" charset="0"/>
                          <a:cs typeface="Source Sans Pro" charset="0"/>
                        </a:rPr>
                        <a:t>COLUMN 1</a:t>
                      </a:r>
                      <a:endParaRPr lang="en-US" sz="1200" b="0" i="0" cap="none" spc="-20" baseline="0" dirty="0">
                        <a:solidFill>
                          <a:schemeClr val="tx1"/>
                        </a:solidFill>
                        <a:latin typeface="Source Sans Pro Black" panose="020B0803030403020204" pitchFamily="34" charset="-18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cap="none" spc="-20" baseline="0" dirty="0" smtClean="0">
                          <a:solidFill>
                            <a:schemeClr val="tx1"/>
                          </a:solidFill>
                          <a:latin typeface="Source Sans Pro Black" panose="020B0803030403020204" pitchFamily="34" charset="-18"/>
                          <a:ea typeface="Source Sans Pro" charset="0"/>
                          <a:cs typeface="Source Sans Pro" charset="0"/>
                        </a:rPr>
                        <a:t>COLUMN 2</a:t>
                      </a:r>
                      <a:endParaRPr lang="en-US" sz="1200" b="0" i="0" cap="none" spc="-20" baseline="0" dirty="0">
                        <a:solidFill>
                          <a:schemeClr val="tx1"/>
                        </a:solidFill>
                        <a:latin typeface="Source Sans Pro Black" panose="020B0803030403020204" pitchFamily="34" charset="-18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cap="none" spc="-20" baseline="0" dirty="0" smtClean="0">
                          <a:solidFill>
                            <a:schemeClr val="tx1"/>
                          </a:solidFill>
                          <a:latin typeface="Source Sans Pro Black" panose="020B0803030403020204" pitchFamily="34" charset="-18"/>
                          <a:ea typeface="Source Sans Pro" charset="0"/>
                          <a:cs typeface="Source Sans Pro" charset="0"/>
                        </a:rPr>
                        <a:t>COLUMN 3</a:t>
                      </a:r>
                      <a:endParaRPr lang="en-US" sz="1200" b="0" i="0" cap="none" spc="-20" baseline="0" dirty="0">
                        <a:solidFill>
                          <a:schemeClr val="tx1"/>
                        </a:solidFill>
                        <a:latin typeface="Source Sans Pro Black" panose="020B0803030403020204" pitchFamily="34" charset="-18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cap="none" spc="-20" baseline="0" dirty="0" smtClean="0">
                          <a:solidFill>
                            <a:schemeClr val="tx1"/>
                          </a:solidFill>
                          <a:latin typeface="Source Sans Pro Black" panose="020B0803030403020204" pitchFamily="34" charset="-18"/>
                          <a:ea typeface="Source Sans Pro" charset="0"/>
                          <a:cs typeface="Source Sans Pro" charset="0"/>
                        </a:rPr>
                        <a:t>COLUMN 4</a:t>
                      </a:r>
                      <a:endParaRPr lang="en-US" sz="1200" b="0" i="0" cap="none" spc="-20" baseline="0" dirty="0">
                        <a:solidFill>
                          <a:schemeClr val="tx1"/>
                        </a:solidFill>
                        <a:latin typeface="Source Sans Pro Black" panose="020B0803030403020204" pitchFamily="34" charset="-18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1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28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68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88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408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2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85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2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4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6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3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56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9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1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3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4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23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63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83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03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5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532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572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592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612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6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56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29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1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33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7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985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02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04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106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8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645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68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70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725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tx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Row Sample 09</a:t>
                      </a:r>
                      <a:endParaRPr lang="en-US" sz="1200" b="1" i="0" cap="none" spc="-20" dirty="0">
                        <a:solidFill>
                          <a:schemeClr val="tx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766</a:t>
                      </a:r>
                    </a:p>
                  </a:txBody>
                  <a:tcPr marL="7722" marR="7722" marT="772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80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82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effectLst/>
                          <a:latin typeface="+mj-lt"/>
                        </a:rPr>
                        <a:t>846</a:t>
                      </a:r>
                    </a:p>
                  </a:txBody>
                  <a:tcPr marL="7722" marR="7722" marT="77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3766">
                <a:tc>
                  <a:txBody>
                    <a:bodyPr/>
                    <a:lstStyle/>
                    <a:p>
                      <a:r>
                        <a:rPr lang="en-US" sz="1200" b="1" i="0" cap="none" spc="-20" dirty="0" smtClean="0">
                          <a:solidFill>
                            <a:schemeClr val="bg1"/>
                          </a:solidFill>
                          <a:latin typeface="+mn-lt"/>
                          <a:ea typeface="Source Sans Pro" charset="0"/>
                          <a:cs typeface="Source Sans Pro" charset="0"/>
                        </a:rPr>
                        <a:t>Total Row</a:t>
                      </a:r>
                      <a:endParaRPr lang="en-US" sz="1200" b="1" i="0" cap="none" spc="-20" dirty="0">
                        <a:solidFill>
                          <a:schemeClr val="bg1"/>
                        </a:solidFill>
                        <a:latin typeface="+mn-lt"/>
                        <a:ea typeface="Source Sans Pro" charset="0"/>
                        <a:cs typeface="Source Sans Pro" charset="0"/>
                      </a:endParaRPr>
                    </a:p>
                  </a:txBody>
                  <a:tcPr marL="87793" marR="87793" marT="43897" marB="4389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5C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5C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356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5C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536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5C5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716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5C5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812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/>
          <p:cNvPicPr>
            <a:picLocks noGrp="1" noChangeAspect="1"/>
          </p:cNvPicPr>
          <p:nvPr>
            <p:ph type="pic" sz="quarter" idx="10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6" b="7816"/>
          <a:stretch>
            <a:fillRect/>
          </a:stretch>
        </p:blipFill>
        <p:spPr/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98414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422275" y="327703"/>
            <a:ext cx="5842897" cy="6198507"/>
          </a:xfrm>
          <a:prstGeom prst="rect">
            <a:avLst/>
          </a:prstGeom>
          <a:solidFill>
            <a:srgbClr val="FFFFFF">
              <a:alpha val="5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24" name="Content Placeholder 15"/>
          <p:cNvSpPr txBox="1">
            <a:spLocks/>
          </p:cNvSpPr>
          <p:nvPr/>
        </p:nvSpPr>
        <p:spPr>
          <a:xfrm>
            <a:off x="676462" y="460618"/>
            <a:ext cx="5358746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0" dirty="0" smtClean="0">
                <a:solidFill>
                  <a:schemeClr val="tx1"/>
                </a:solidFill>
              </a:rPr>
              <a:t>coffee</a:t>
            </a:r>
            <a:endParaRPr lang="en-US" sz="12000" dirty="0">
              <a:solidFill>
                <a:schemeClr val="tx1"/>
              </a:solidFill>
            </a:endParaRPr>
          </a:p>
        </p:txBody>
      </p:sp>
      <p:sp>
        <p:nvSpPr>
          <p:cNvPr id="25" name="Content Placeholder 15"/>
          <p:cNvSpPr txBox="1">
            <a:spLocks/>
          </p:cNvSpPr>
          <p:nvPr/>
        </p:nvSpPr>
        <p:spPr>
          <a:xfrm>
            <a:off x="1891086" y="1975787"/>
            <a:ext cx="398519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smtClean="0">
                <a:solidFill>
                  <a:schemeClr val="tx1"/>
                </a:solidFill>
              </a:rPr>
              <a:t>break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2650847" y="2753451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ontent Placeholder 15"/>
          <p:cNvSpPr txBox="1">
            <a:spLocks/>
          </p:cNvSpPr>
          <p:nvPr/>
        </p:nvSpPr>
        <p:spPr>
          <a:xfrm>
            <a:off x="1165669" y="5011472"/>
            <a:ext cx="235131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/>
              <a:t>12:00-12:30</a:t>
            </a:r>
            <a:endParaRPr lang="en-US" dirty="0"/>
          </a:p>
        </p:txBody>
      </p:sp>
      <p:sp>
        <p:nvSpPr>
          <p:cNvPr id="43" name="Content Placeholder 15"/>
          <p:cNvSpPr txBox="1">
            <a:spLocks/>
          </p:cNvSpPr>
          <p:nvPr/>
        </p:nvSpPr>
        <p:spPr>
          <a:xfrm>
            <a:off x="1165669" y="5377481"/>
            <a:ext cx="3906866" cy="4197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sz="1800" dirty="0" err="1">
                <a:solidFill>
                  <a:schemeClr val="accent4"/>
                </a:solidFill>
              </a:rPr>
              <a:t>Duis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vulputate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pellentesque</a:t>
            </a:r>
            <a:r>
              <a:rPr lang="en-US" sz="1800" dirty="0">
                <a:solidFill>
                  <a:schemeClr val="accent4"/>
                </a:solidFill>
              </a:rPr>
              <a:t> dui </a:t>
            </a:r>
            <a:r>
              <a:rPr lang="en-US" sz="1800" dirty="0" err="1">
                <a:solidFill>
                  <a:schemeClr val="accent4"/>
                </a:solidFill>
              </a:rPr>
              <a:t>eget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ornare</a:t>
            </a:r>
            <a:r>
              <a:rPr lang="en-US" sz="1800" dirty="0">
                <a:solidFill>
                  <a:schemeClr val="accent4"/>
                </a:solidFill>
              </a:rPr>
              <a:t>. </a:t>
            </a:r>
            <a:r>
              <a:rPr lang="en-US" sz="1800" dirty="0" err="1">
                <a:solidFill>
                  <a:schemeClr val="accent4"/>
                </a:solidFill>
              </a:rPr>
              <a:t>Aliquam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dignissim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placerat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r>
              <a:rPr lang="en-US" sz="1800" dirty="0" err="1">
                <a:solidFill>
                  <a:schemeClr val="accent4"/>
                </a:solidFill>
              </a:rPr>
              <a:t>auctor</a:t>
            </a:r>
            <a:r>
              <a:rPr lang="en-US" sz="1800" dirty="0">
                <a:solidFill>
                  <a:schemeClr val="accent4"/>
                </a:solidFill>
              </a:rPr>
              <a:t>. 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5271016" y="3051166"/>
            <a:ext cx="547752" cy="751579"/>
            <a:chOff x="8437563" y="2519362"/>
            <a:chExt cx="1651000" cy="2265363"/>
          </a:xfrm>
        </p:grpSpPr>
        <p:sp>
          <p:nvSpPr>
            <p:cNvPr id="41" name="Freeform 53"/>
            <p:cNvSpPr>
              <a:spLocks noEditPoints="1"/>
            </p:cNvSpPr>
            <p:nvPr/>
          </p:nvSpPr>
          <p:spPr bwMode="auto">
            <a:xfrm>
              <a:off x="8437563" y="3219450"/>
              <a:ext cx="1651000" cy="1565275"/>
            </a:xfrm>
            <a:custGeom>
              <a:avLst/>
              <a:gdLst>
                <a:gd name="T0" fmla="*/ 398 w 437"/>
                <a:gd name="T1" fmla="*/ 74 h 415"/>
                <a:gd name="T2" fmla="*/ 374 w 437"/>
                <a:gd name="T3" fmla="*/ 74 h 415"/>
                <a:gd name="T4" fmla="*/ 285 w 437"/>
                <a:gd name="T5" fmla="*/ 0 h 415"/>
                <a:gd name="T6" fmla="*/ 275 w 437"/>
                <a:gd name="T7" fmla="*/ 10 h 415"/>
                <a:gd name="T8" fmla="*/ 285 w 437"/>
                <a:gd name="T9" fmla="*/ 20 h 415"/>
                <a:gd name="T10" fmla="*/ 355 w 437"/>
                <a:gd name="T11" fmla="*/ 85 h 415"/>
                <a:gd name="T12" fmla="*/ 355 w 437"/>
                <a:gd name="T13" fmla="*/ 91 h 415"/>
                <a:gd name="T14" fmla="*/ 330 w 437"/>
                <a:gd name="T15" fmla="*/ 323 h 415"/>
                <a:gd name="T16" fmla="*/ 330 w 437"/>
                <a:gd name="T17" fmla="*/ 324 h 415"/>
                <a:gd name="T18" fmla="*/ 260 w 437"/>
                <a:gd name="T19" fmla="*/ 395 h 415"/>
                <a:gd name="T20" fmla="*/ 115 w 437"/>
                <a:gd name="T21" fmla="*/ 395 h 415"/>
                <a:gd name="T22" fmla="*/ 45 w 437"/>
                <a:gd name="T23" fmla="*/ 324 h 415"/>
                <a:gd name="T24" fmla="*/ 26 w 437"/>
                <a:gd name="T25" fmla="*/ 154 h 415"/>
                <a:gd name="T26" fmla="*/ 167 w 437"/>
                <a:gd name="T27" fmla="*/ 154 h 415"/>
                <a:gd name="T28" fmla="*/ 177 w 437"/>
                <a:gd name="T29" fmla="*/ 144 h 415"/>
                <a:gd name="T30" fmla="*/ 167 w 437"/>
                <a:gd name="T31" fmla="*/ 134 h 415"/>
                <a:gd name="T32" fmla="*/ 24 w 437"/>
                <a:gd name="T33" fmla="*/ 134 h 415"/>
                <a:gd name="T34" fmla="*/ 20 w 437"/>
                <a:gd name="T35" fmla="*/ 91 h 415"/>
                <a:gd name="T36" fmla="*/ 90 w 437"/>
                <a:gd name="T37" fmla="*/ 20 h 415"/>
                <a:gd name="T38" fmla="*/ 195 w 437"/>
                <a:gd name="T39" fmla="*/ 20 h 415"/>
                <a:gd name="T40" fmla="*/ 205 w 437"/>
                <a:gd name="T41" fmla="*/ 10 h 415"/>
                <a:gd name="T42" fmla="*/ 195 w 437"/>
                <a:gd name="T43" fmla="*/ 0 h 415"/>
                <a:gd name="T44" fmla="*/ 90 w 437"/>
                <a:gd name="T45" fmla="*/ 0 h 415"/>
                <a:gd name="T46" fmla="*/ 0 w 437"/>
                <a:gd name="T47" fmla="*/ 91 h 415"/>
                <a:gd name="T48" fmla="*/ 25 w 437"/>
                <a:gd name="T49" fmla="*/ 325 h 415"/>
                <a:gd name="T50" fmla="*/ 115 w 437"/>
                <a:gd name="T51" fmla="*/ 415 h 415"/>
                <a:gd name="T52" fmla="*/ 260 w 437"/>
                <a:gd name="T53" fmla="*/ 415 h 415"/>
                <a:gd name="T54" fmla="*/ 350 w 437"/>
                <a:gd name="T55" fmla="*/ 325 h 415"/>
                <a:gd name="T56" fmla="*/ 358 w 437"/>
                <a:gd name="T57" fmla="*/ 253 h 415"/>
                <a:gd name="T58" fmla="*/ 398 w 437"/>
                <a:gd name="T59" fmla="*/ 253 h 415"/>
                <a:gd name="T60" fmla="*/ 437 w 437"/>
                <a:gd name="T61" fmla="*/ 214 h 415"/>
                <a:gd name="T62" fmla="*/ 437 w 437"/>
                <a:gd name="T63" fmla="*/ 113 h 415"/>
                <a:gd name="T64" fmla="*/ 398 w 437"/>
                <a:gd name="T65" fmla="*/ 74 h 415"/>
                <a:gd name="T66" fmla="*/ 417 w 437"/>
                <a:gd name="T67" fmla="*/ 214 h 415"/>
                <a:gd name="T68" fmla="*/ 398 w 437"/>
                <a:gd name="T69" fmla="*/ 233 h 415"/>
                <a:gd name="T70" fmla="*/ 360 w 437"/>
                <a:gd name="T71" fmla="*/ 233 h 415"/>
                <a:gd name="T72" fmla="*/ 375 w 437"/>
                <a:gd name="T73" fmla="*/ 99 h 415"/>
                <a:gd name="T74" fmla="*/ 375 w 437"/>
                <a:gd name="T75" fmla="*/ 94 h 415"/>
                <a:gd name="T76" fmla="*/ 398 w 437"/>
                <a:gd name="T77" fmla="*/ 94 h 415"/>
                <a:gd name="T78" fmla="*/ 417 w 437"/>
                <a:gd name="T79" fmla="*/ 113 h 415"/>
                <a:gd name="T80" fmla="*/ 417 w 437"/>
                <a:gd name="T81" fmla="*/ 21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7" h="415">
                  <a:moveTo>
                    <a:pt x="398" y="74"/>
                  </a:moveTo>
                  <a:cubicBezTo>
                    <a:pt x="374" y="74"/>
                    <a:pt x="374" y="74"/>
                    <a:pt x="374" y="74"/>
                  </a:cubicBezTo>
                  <a:cubicBezTo>
                    <a:pt x="365" y="32"/>
                    <a:pt x="328" y="0"/>
                    <a:pt x="285" y="0"/>
                  </a:cubicBezTo>
                  <a:cubicBezTo>
                    <a:pt x="280" y="0"/>
                    <a:pt x="275" y="5"/>
                    <a:pt x="275" y="10"/>
                  </a:cubicBezTo>
                  <a:cubicBezTo>
                    <a:pt x="275" y="16"/>
                    <a:pt x="280" y="20"/>
                    <a:pt x="285" y="20"/>
                  </a:cubicBezTo>
                  <a:cubicBezTo>
                    <a:pt x="321" y="20"/>
                    <a:pt x="352" y="48"/>
                    <a:pt x="355" y="85"/>
                  </a:cubicBezTo>
                  <a:cubicBezTo>
                    <a:pt x="355" y="87"/>
                    <a:pt x="355" y="89"/>
                    <a:pt x="355" y="91"/>
                  </a:cubicBezTo>
                  <a:cubicBezTo>
                    <a:pt x="330" y="323"/>
                    <a:pt x="330" y="323"/>
                    <a:pt x="330" y="323"/>
                  </a:cubicBezTo>
                  <a:cubicBezTo>
                    <a:pt x="330" y="324"/>
                    <a:pt x="330" y="324"/>
                    <a:pt x="330" y="324"/>
                  </a:cubicBezTo>
                  <a:cubicBezTo>
                    <a:pt x="330" y="363"/>
                    <a:pt x="299" y="395"/>
                    <a:pt x="260" y="395"/>
                  </a:cubicBezTo>
                  <a:cubicBezTo>
                    <a:pt x="115" y="395"/>
                    <a:pt x="115" y="395"/>
                    <a:pt x="115" y="395"/>
                  </a:cubicBezTo>
                  <a:cubicBezTo>
                    <a:pt x="76" y="395"/>
                    <a:pt x="45" y="363"/>
                    <a:pt x="45" y="324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73" y="154"/>
                    <a:pt x="177" y="150"/>
                    <a:pt x="177" y="144"/>
                  </a:cubicBezTo>
                  <a:cubicBezTo>
                    <a:pt x="177" y="138"/>
                    <a:pt x="173" y="134"/>
                    <a:pt x="167" y="134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0" y="52"/>
                    <a:pt x="51" y="20"/>
                    <a:pt x="90" y="20"/>
                  </a:cubicBezTo>
                  <a:cubicBezTo>
                    <a:pt x="195" y="20"/>
                    <a:pt x="195" y="20"/>
                    <a:pt x="195" y="20"/>
                  </a:cubicBezTo>
                  <a:cubicBezTo>
                    <a:pt x="201" y="20"/>
                    <a:pt x="205" y="16"/>
                    <a:pt x="205" y="10"/>
                  </a:cubicBezTo>
                  <a:cubicBezTo>
                    <a:pt x="205" y="5"/>
                    <a:pt x="201" y="0"/>
                    <a:pt x="19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40" y="0"/>
                    <a:pt x="0" y="41"/>
                    <a:pt x="0" y="91"/>
                  </a:cubicBezTo>
                  <a:cubicBezTo>
                    <a:pt x="25" y="325"/>
                    <a:pt x="25" y="325"/>
                    <a:pt x="25" y="325"/>
                  </a:cubicBezTo>
                  <a:cubicBezTo>
                    <a:pt x="25" y="375"/>
                    <a:pt x="66" y="415"/>
                    <a:pt x="115" y="415"/>
                  </a:cubicBezTo>
                  <a:cubicBezTo>
                    <a:pt x="260" y="415"/>
                    <a:pt x="260" y="415"/>
                    <a:pt x="260" y="415"/>
                  </a:cubicBezTo>
                  <a:cubicBezTo>
                    <a:pt x="310" y="415"/>
                    <a:pt x="350" y="375"/>
                    <a:pt x="350" y="325"/>
                  </a:cubicBezTo>
                  <a:cubicBezTo>
                    <a:pt x="358" y="253"/>
                    <a:pt x="358" y="253"/>
                    <a:pt x="358" y="253"/>
                  </a:cubicBezTo>
                  <a:cubicBezTo>
                    <a:pt x="398" y="253"/>
                    <a:pt x="398" y="253"/>
                    <a:pt x="398" y="253"/>
                  </a:cubicBezTo>
                  <a:cubicBezTo>
                    <a:pt x="420" y="253"/>
                    <a:pt x="437" y="235"/>
                    <a:pt x="437" y="214"/>
                  </a:cubicBezTo>
                  <a:cubicBezTo>
                    <a:pt x="437" y="113"/>
                    <a:pt x="437" y="113"/>
                    <a:pt x="437" y="113"/>
                  </a:cubicBezTo>
                  <a:cubicBezTo>
                    <a:pt x="437" y="91"/>
                    <a:pt x="420" y="74"/>
                    <a:pt x="398" y="74"/>
                  </a:cubicBezTo>
                  <a:close/>
                  <a:moveTo>
                    <a:pt x="417" y="214"/>
                  </a:moveTo>
                  <a:cubicBezTo>
                    <a:pt x="417" y="224"/>
                    <a:pt x="409" y="233"/>
                    <a:pt x="398" y="233"/>
                  </a:cubicBezTo>
                  <a:cubicBezTo>
                    <a:pt x="360" y="233"/>
                    <a:pt x="360" y="233"/>
                    <a:pt x="360" y="233"/>
                  </a:cubicBezTo>
                  <a:cubicBezTo>
                    <a:pt x="375" y="99"/>
                    <a:pt x="375" y="99"/>
                    <a:pt x="375" y="99"/>
                  </a:cubicBezTo>
                  <a:cubicBezTo>
                    <a:pt x="375" y="94"/>
                    <a:pt x="375" y="94"/>
                    <a:pt x="375" y="94"/>
                  </a:cubicBezTo>
                  <a:cubicBezTo>
                    <a:pt x="398" y="94"/>
                    <a:pt x="398" y="94"/>
                    <a:pt x="398" y="94"/>
                  </a:cubicBezTo>
                  <a:cubicBezTo>
                    <a:pt x="409" y="94"/>
                    <a:pt x="417" y="102"/>
                    <a:pt x="417" y="113"/>
                  </a:cubicBezTo>
                  <a:lnTo>
                    <a:pt x="417" y="2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4"/>
            <p:cNvSpPr>
              <a:spLocks/>
            </p:cNvSpPr>
            <p:nvPr/>
          </p:nvSpPr>
          <p:spPr bwMode="auto">
            <a:xfrm>
              <a:off x="9045576" y="2519362"/>
              <a:ext cx="207963" cy="652463"/>
            </a:xfrm>
            <a:custGeom>
              <a:avLst/>
              <a:gdLst>
                <a:gd name="T0" fmla="*/ 11 w 55"/>
                <a:gd name="T1" fmla="*/ 173 h 173"/>
                <a:gd name="T2" fmla="*/ 17 w 55"/>
                <a:gd name="T3" fmla="*/ 171 h 173"/>
                <a:gd name="T4" fmla="*/ 47 w 55"/>
                <a:gd name="T5" fmla="*/ 98 h 173"/>
                <a:gd name="T6" fmla="*/ 38 w 55"/>
                <a:gd name="T7" fmla="*/ 76 h 173"/>
                <a:gd name="T8" fmla="*/ 31 w 55"/>
                <a:gd name="T9" fmla="*/ 62 h 173"/>
                <a:gd name="T10" fmla="*/ 33 w 55"/>
                <a:gd name="T11" fmla="*/ 16 h 173"/>
                <a:gd name="T12" fmla="*/ 28 w 55"/>
                <a:gd name="T13" fmla="*/ 3 h 173"/>
                <a:gd name="T14" fmla="*/ 15 w 55"/>
                <a:gd name="T15" fmla="*/ 8 h 173"/>
                <a:gd name="T16" fmla="*/ 13 w 55"/>
                <a:gd name="T17" fmla="*/ 70 h 173"/>
                <a:gd name="T18" fmla="*/ 20 w 55"/>
                <a:gd name="T19" fmla="*/ 86 h 173"/>
                <a:gd name="T20" fmla="*/ 28 w 55"/>
                <a:gd name="T21" fmla="*/ 104 h 173"/>
                <a:gd name="T22" fmla="*/ 6 w 55"/>
                <a:gd name="T23" fmla="*/ 154 h 173"/>
                <a:gd name="T24" fmla="*/ 3 w 55"/>
                <a:gd name="T25" fmla="*/ 168 h 173"/>
                <a:gd name="T26" fmla="*/ 11 w 55"/>
                <a:gd name="T2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73">
                  <a:moveTo>
                    <a:pt x="11" y="173"/>
                  </a:moveTo>
                  <a:cubicBezTo>
                    <a:pt x="13" y="173"/>
                    <a:pt x="15" y="172"/>
                    <a:pt x="17" y="171"/>
                  </a:cubicBezTo>
                  <a:cubicBezTo>
                    <a:pt x="42" y="156"/>
                    <a:pt x="55" y="125"/>
                    <a:pt x="47" y="98"/>
                  </a:cubicBezTo>
                  <a:cubicBezTo>
                    <a:pt x="45" y="90"/>
                    <a:pt x="41" y="83"/>
                    <a:pt x="38" y="76"/>
                  </a:cubicBezTo>
                  <a:cubicBezTo>
                    <a:pt x="35" y="72"/>
                    <a:pt x="33" y="67"/>
                    <a:pt x="31" y="62"/>
                  </a:cubicBezTo>
                  <a:cubicBezTo>
                    <a:pt x="26" y="47"/>
                    <a:pt x="26" y="30"/>
                    <a:pt x="33" y="16"/>
                  </a:cubicBezTo>
                  <a:cubicBezTo>
                    <a:pt x="35" y="11"/>
                    <a:pt x="33" y="5"/>
                    <a:pt x="28" y="3"/>
                  </a:cubicBezTo>
                  <a:cubicBezTo>
                    <a:pt x="23" y="0"/>
                    <a:pt x="17" y="3"/>
                    <a:pt x="15" y="8"/>
                  </a:cubicBezTo>
                  <a:cubicBezTo>
                    <a:pt x="6" y="27"/>
                    <a:pt x="5" y="50"/>
                    <a:pt x="13" y="70"/>
                  </a:cubicBezTo>
                  <a:cubicBezTo>
                    <a:pt x="15" y="75"/>
                    <a:pt x="18" y="80"/>
                    <a:pt x="20" y="86"/>
                  </a:cubicBezTo>
                  <a:cubicBezTo>
                    <a:pt x="23" y="92"/>
                    <a:pt x="26" y="98"/>
                    <a:pt x="28" y="104"/>
                  </a:cubicBezTo>
                  <a:cubicBezTo>
                    <a:pt x="33" y="122"/>
                    <a:pt x="24" y="144"/>
                    <a:pt x="6" y="154"/>
                  </a:cubicBezTo>
                  <a:cubicBezTo>
                    <a:pt x="2" y="157"/>
                    <a:pt x="0" y="163"/>
                    <a:pt x="3" y="168"/>
                  </a:cubicBezTo>
                  <a:cubicBezTo>
                    <a:pt x="5" y="171"/>
                    <a:pt x="8" y="173"/>
                    <a:pt x="11" y="17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55"/>
            <p:cNvSpPr>
              <a:spLocks/>
            </p:cNvSpPr>
            <p:nvPr/>
          </p:nvSpPr>
          <p:spPr bwMode="auto">
            <a:xfrm>
              <a:off x="8902701" y="2695575"/>
              <a:ext cx="158750" cy="490538"/>
            </a:xfrm>
            <a:custGeom>
              <a:avLst/>
              <a:gdLst>
                <a:gd name="T0" fmla="*/ 11 w 42"/>
                <a:gd name="T1" fmla="*/ 130 h 130"/>
                <a:gd name="T2" fmla="*/ 17 w 42"/>
                <a:gd name="T3" fmla="*/ 128 h 130"/>
                <a:gd name="T4" fmla="*/ 38 w 42"/>
                <a:gd name="T5" fmla="*/ 73 h 130"/>
                <a:gd name="T6" fmla="*/ 31 w 42"/>
                <a:gd name="T7" fmla="*/ 57 h 130"/>
                <a:gd name="T8" fmla="*/ 27 w 42"/>
                <a:gd name="T9" fmla="*/ 47 h 130"/>
                <a:gd name="T10" fmla="*/ 28 w 42"/>
                <a:gd name="T11" fmla="*/ 15 h 130"/>
                <a:gd name="T12" fmla="*/ 23 w 42"/>
                <a:gd name="T13" fmla="*/ 2 h 130"/>
                <a:gd name="T14" fmla="*/ 10 w 42"/>
                <a:gd name="T15" fmla="*/ 8 h 130"/>
                <a:gd name="T16" fmla="*/ 8 w 42"/>
                <a:gd name="T17" fmla="*/ 53 h 130"/>
                <a:gd name="T18" fmla="*/ 13 w 42"/>
                <a:gd name="T19" fmla="*/ 65 h 130"/>
                <a:gd name="T20" fmla="*/ 18 w 42"/>
                <a:gd name="T21" fmla="*/ 78 h 130"/>
                <a:gd name="T22" fmla="*/ 6 w 42"/>
                <a:gd name="T23" fmla="*/ 112 h 130"/>
                <a:gd name="T24" fmla="*/ 3 w 42"/>
                <a:gd name="T25" fmla="*/ 125 h 130"/>
                <a:gd name="T26" fmla="*/ 11 w 42"/>
                <a:gd name="T2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130">
                  <a:moveTo>
                    <a:pt x="11" y="130"/>
                  </a:moveTo>
                  <a:cubicBezTo>
                    <a:pt x="13" y="130"/>
                    <a:pt x="15" y="129"/>
                    <a:pt x="17" y="128"/>
                  </a:cubicBezTo>
                  <a:cubicBezTo>
                    <a:pt x="34" y="116"/>
                    <a:pt x="42" y="93"/>
                    <a:pt x="38" y="73"/>
                  </a:cubicBezTo>
                  <a:cubicBezTo>
                    <a:pt x="36" y="67"/>
                    <a:pt x="34" y="62"/>
                    <a:pt x="31" y="57"/>
                  </a:cubicBezTo>
                  <a:cubicBezTo>
                    <a:pt x="30" y="54"/>
                    <a:pt x="28" y="50"/>
                    <a:pt x="27" y="47"/>
                  </a:cubicBezTo>
                  <a:cubicBezTo>
                    <a:pt x="24" y="37"/>
                    <a:pt x="24" y="25"/>
                    <a:pt x="28" y="15"/>
                  </a:cubicBezTo>
                  <a:cubicBezTo>
                    <a:pt x="30" y="10"/>
                    <a:pt x="28" y="4"/>
                    <a:pt x="23" y="2"/>
                  </a:cubicBezTo>
                  <a:cubicBezTo>
                    <a:pt x="18" y="0"/>
                    <a:pt x="12" y="2"/>
                    <a:pt x="10" y="8"/>
                  </a:cubicBezTo>
                  <a:cubicBezTo>
                    <a:pt x="4" y="22"/>
                    <a:pt x="4" y="39"/>
                    <a:pt x="8" y="53"/>
                  </a:cubicBezTo>
                  <a:cubicBezTo>
                    <a:pt x="10" y="58"/>
                    <a:pt x="12" y="61"/>
                    <a:pt x="13" y="65"/>
                  </a:cubicBezTo>
                  <a:cubicBezTo>
                    <a:pt x="15" y="70"/>
                    <a:pt x="17" y="74"/>
                    <a:pt x="18" y="78"/>
                  </a:cubicBezTo>
                  <a:cubicBezTo>
                    <a:pt x="21" y="90"/>
                    <a:pt x="16" y="105"/>
                    <a:pt x="6" y="112"/>
                  </a:cubicBezTo>
                  <a:cubicBezTo>
                    <a:pt x="1" y="115"/>
                    <a:pt x="0" y="121"/>
                    <a:pt x="3" y="125"/>
                  </a:cubicBezTo>
                  <a:cubicBezTo>
                    <a:pt x="5" y="128"/>
                    <a:pt x="8" y="130"/>
                    <a:pt x="11" y="13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56"/>
            <p:cNvSpPr>
              <a:spLocks/>
            </p:cNvSpPr>
            <p:nvPr/>
          </p:nvSpPr>
          <p:spPr bwMode="auto">
            <a:xfrm>
              <a:off x="9275763" y="2843213"/>
              <a:ext cx="158750" cy="339725"/>
            </a:xfrm>
            <a:custGeom>
              <a:avLst/>
              <a:gdLst>
                <a:gd name="T0" fmla="*/ 11 w 42"/>
                <a:gd name="T1" fmla="*/ 90 h 90"/>
                <a:gd name="T2" fmla="*/ 17 w 42"/>
                <a:gd name="T3" fmla="*/ 89 h 90"/>
                <a:gd name="T4" fmla="*/ 37 w 42"/>
                <a:gd name="T5" fmla="*/ 34 h 90"/>
                <a:gd name="T6" fmla="*/ 31 w 42"/>
                <a:gd name="T7" fmla="*/ 18 h 90"/>
                <a:gd name="T8" fmla="*/ 27 w 42"/>
                <a:gd name="T9" fmla="*/ 8 h 90"/>
                <a:gd name="T10" fmla="*/ 15 w 42"/>
                <a:gd name="T11" fmla="*/ 1 h 90"/>
                <a:gd name="T12" fmla="*/ 8 w 42"/>
                <a:gd name="T13" fmla="*/ 14 h 90"/>
                <a:gd name="T14" fmla="*/ 13 w 42"/>
                <a:gd name="T15" fmla="*/ 26 h 90"/>
                <a:gd name="T16" fmla="*/ 18 w 42"/>
                <a:gd name="T17" fmla="*/ 39 h 90"/>
                <a:gd name="T18" fmla="*/ 6 w 42"/>
                <a:gd name="T19" fmla="*/ 72 h 90"/>
                <a:gd name="T20" fmla="*/ 3 w 42"/>
                <a:gd name="T21" fmla="*/ 86 h 90"/>
                <a:gd name="T22" fmla="*/ 11 w 42"/>
                <a:gd name="T2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90">
                  <a:moveTo>
                    <a:pt x="11" y="90"/>
                  </a:moveTo>
                  <a:cubicBezTo>
                    <a:pt x="13" y="90"/>
                    <a:pt x="15" y="90"/>
                    <a:pt x="17" y="89"/>
                  </a:cubicBezTo>
                  <a:cubicBezTo>
                    <a:pt x="34" y="77"/>
                    <a:pt x="42" y="54"/>
                    <a:pt x="37" y="34"/>
                  </a:cubicBezTo>
                  <a:cubicBezTo>
                    <a:pt x="36" y="28"/>
                    <a:pt x="34" y="23"/>
                    <a:pt x="31" y="18"/>
                  </a:cubicBezTo>
                  <a:cubicBezTo>
                    <a:pt x="30" y="14"/>
                    <a:pt x="28" y="11"/>
                    <a:pt x="27" y="8"/>
                  </a:cubicBezTo>
                  <a:cubicBezTo>
                    <a:pt x="26" y="3"/>
                    <a:pt x="20" y="0"/>
                    <a:pt x="15" y="1"/>
                  </a:cubicBezTo>
                  <a:cubicBezTo>
                    <a:pt x="9" y="3"/>
                    <a:pt x="7" y="9"/>
                    <a:pt x="8" y="14"/>
                  </a:cubicBezTo>
                  <a:cubicBezTo>
                    <a:pt x="10" y="18"/>
                    <a:pt x="11" y="22"/>
                    <a:pt x="13" y="26"/>
                  </a:cubicBezTo>
                  <a:cubicBezTo>
                    <a:pt x="15" y="30"/>
                    <a:pt x="17" y="34"/>
                    <a:pt x="18" y="39"/>
                  </a:cubicBezTo>
                  <a:cubicBezTo>
                    <a:pt x="21" y="51"/>
                    <a:pt x="16" y="65"/>
                    <a:pt x="6" y="72"/>
                  </a:cubicBezTo>
                  <a:cubicBezTo>
                    <a:pt x="1" y="75"/>
                    <a:pt x="0" y="82"/>
                    <a:pt x="3" y="86"/>
                  </a:cubicBezTo>
                  <a:cubicBezTo>
                    <a:pt x="5" y="89"/>
                    <a:pt x="8" y="90"/>
                    <a:pt x="11" y="9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7"/>
            <p:cNvSpPr>
              <a:spLocks/>
            </p:cNvSpPr>
            <p:nvPr/>
          </p:nvSpPr>
          <p:spPr bwMode="auto">
            <a:xfrm>
              <a:off x="9196388" y="3724275"/>
              <a:ext cx="309563" cy="76200"/>
            </a:xfrm>
            <a:custGeom>
              <a:avLst/>
              <a:gdLst>
                <a:gd name="T0" fmla="*/ 0 w 82"/>
                <a:gd name="T1" fmla="*/ 10 h 20"/>
                <a:gd name="T2" fmla="*/ 10 w 82"/>
                <a:gd name="T3" fmla="*/ 20 h 20"/>
                <a:gd name="T4" fmla="*/ 72 w 82"/>
                <a:gd name="T5" fmla="*/ 20 h 20"/>
                <a:gd name="T6" fmla="*/ 82 w 82"/>
                <a:gd name="T7" fmla="*/ 10 h 20"/>
                <a:gd name="T8" fmla="*/ 72 w 82"/>
                <a:gd name="T9" fmla="*/ 0 h 20"/>
                <a:gd name="T10" fmla="*/ 10 w 82"/>
                <a:gd name="T11" fmla="*/ 0 h 20"/>
                <a:gd name="T12" fmla="*/ 0 w 82"/>
                <a:gd name="T1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20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8" y="20"/>
                    <a:pt x="82" y="16"/>
                    <a:pt x="82" y="10"/>
                  </a:cubicBezTo>
                  <a:cubicBezTo>
                    <a:pt x="82" y="4"/>
                    <a:pt x="78" y="0"/>
                    <a:pt x="7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96233" y="4977872"/>
            <a:ext cx="395432" cy="395432"/>
            <a:chOff x="-835025" y="3567113"/>
            <a:chExt cx="1046163" cy="1046162"/>
          </a:xfrm>
        </p:grpSpPr>
        <p:sp>
          <p:nvSpPr>
            <p:cNvPr id="52" name="Freeform 63"/>
            <p:cNvSpPr>
              <a:spLocks noEditPoints="1"/>
            </p:cNvSpPr>
            <p:nvPr/>
          </p:nvSpPr>
          <p:spPr bwMode="auto">
            <a:xfrm>
              <a:off x="-835025" y="3567113"/>
              <a:ext cx="1046163" cy="1046162"/>
            </a:xfrm>
            <a:custGeom>
              <a:avLst/>
              <a:gdLst>
                <a:gd name="T0" fmla="*/ 276 w 276"/>
                <a:gd name="T1" fmla="*/ 138 h 276"/>
                <a:gd name="T2" fmla="*/ 138 w 276"/>
                <a:gd name="T3" fmla="*/ 0 h 276"/>
                <a:gd name="T4" fmla="*/ 0 w 276"/>
                <a:gd name="T5" fmla="*/ 138 h 276"/>
                <a:gd name="T6" fmla="*/ 137 w 276"/>
                <a:gd name="T7" fmla="*/ 276 h 276"/>
                <a:gd name="T8" fmla="*/ 138 w 276"/>
                <a:gd name="T9" fmla="*/ 276 h 276"/>
                <a:gd name="T10" fmla="*/ 139 w 276"/>
                <a:gd name="T11" fmla="*/ 276 h 276"/>
                <a:gd name="T12" fmla="*/ 276 w 276"/>
                <a:gd name="T13" fmla="*/ 138 h 276"/>
                <a:gd name="T14" fmla="*/ 144 w 276"/>
                <a:gd name="T15" fmla="*/ 259 h 276"/>
                <a:gd name="T16" fmla="*/ 144 w 276"/>
                <a:gd name="T17" fmla="*/ 233 h 276"/>
                <a:gd name="T18" fmla="*/ 138 w 276"/>
                <a:gd name="T19" fmla="*/ 227 h 276"/>
                <a:gd name="T20" fmla="*/ 132 w 276"/>
                <a:gd name="T21" fmla="*/ 233 h 276"/>
                <a:gd name="T22" fmla="*/ 132 w 276"/>
                <a:gd name="T23" fmla="*/ 259 h 276"/>
                <a:gd name="T24" fmla="*/ 16 w 276"/>
                <a:gd name="T25" fmla="*/ 146 h 276"/>
                <a:gd name="T26" fmla="*/ 44 w 276"/>
                <a:gd name="T27" fmla="*/ 146 h 276"/>
                <a:gd name="T28" fmla="*/ 50 w 276"/>
                <a:gd name="T29" fmla="*/ 140 h 276"/>
                <a:gd name="T30" fmla="*/ 44 w 276"/>
                <a:gd name="T31" fmla="*/ 134 h 276"/>
                <a:gd name="T32" fmla="*/ 16 w 276"/>
                <a:gd name="T33" fmla="*/ 134 h 276"/>
                <a:gd name="T34" fmla="*/ 132 w 276"/>
                <a:gd name="T35" fmla="*/ 16 h 276"/>
                <a:gd name="T36" fmla="*/ 132 w 276"/>
                <a:gd name="T37" fmla="*/ 47 h 276"/>
                <a:gd name="T38" fmla="*/ 138 w 276"/>
                <a:gd name="T39" fmla="*/ 53 h 276"/>
                <a:gd name="T40" fmla="*/ 144 w 276"/>
                <a:gd name="T41" fmla="*/ 47 h 276"/>
                <a:gd name="T42" fmla="*/ 144 w 276"/>
                <a:gd name="T43" fmla="*/ 16 h 276"/>
                <a:gd name="T44" fmla="*/ 260 w 276"/>
                <a:gd name="T45" fmla="*/ 134 h 276"/>
                <a:gd name="T46" fmla="*/ 230 w 276"/>
                <a:gd name="T47" fmla="*/ 134 h 276"/>
                <a:gd name="T48" fmla="*/ 224 w 276"/>
                <a:gd name="T49" fmla="*/ 140 h 276"/>
                <a:gd name="T50" fmla="*/ 230 w 276"/>
                <a:gd name="T51" fmla="*/ 146 h 276"/>
                <a:gd name="T52" fmla="*/ 260 w 276"/>
                <a:gd name="T53" fmla="*/ 146 h 276"/>
                <a:gd name="T54" fmla="*/ 144 w 276"/>
                <a:gd name="T55" fmla="*/ 25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" h="276">
                  <a:moveTo>
                    <a:pt x="276" y="138"/>
                  </a:moveTo>
                  <a:cubicBezTo>
                    <a:pt x="276" y="61"/>
                    <a:pt x="214" y="0"/>
                    <a:pt x="138" y="0"/>
                  </a:cubicBezTo>
                  <a:cubicBezTo>
                    <a:pt x="62" y="0"/>
                    <a:pt x="0" y="61"/>
                    <a:pt x="0" y="138"/>
                  </a:cubicBezTo>
                  <a:cubicBezTo>
                    <a:pt x="0" y="213"/>
                    <a:pt x="61" y="275"/>
                    <a:pt x="137" y="276"/>
                  </a:cubicBezTo>
                  <a:cubicBezTo>
                    <a:pt x="137" y="276"/>
                    <a:pt x="137" y="276"/>
                    <a:pt x="138" y="276"/>
                  </a:cubicBezTo>
                  <a:cubicBezTo>
                    <a:pt x="138" y="276"/>
                    <a:pt x="139" y="276"/>
                    <a:pt x="139" y="276"/>
                  </a:cubicBezTo>
                  <a:cubicBezTo>
                    <a:pt x="215" y="275"/>
                    <a:pt x="276" y="213"/>
                    <a:pt x="276" y="138"/>
                  </a:cubicBezTo>
                  <a:close/>
                  <a:moveTo>
                    <a:pt x="144" y="259"/>
                  </a:moveTo>
                  <a:cubicBezTo>
                    <a:pt x="144" y="233"/>
                    <a:pt x="144" y="233"/>
                    <a:pt x="144" y="233"/>
                  </a:cubicBezTo>
                  <a:cubicBezTo>
                    <a:pt x="144" y="230"/>
                    <a:pt x="141" y="227"/>
                    <a:pt x="138" y="227"/>
                  </a:cubicBezTo>
                  <a:cubicBezTo>
                    <a:pt x="135" y="227"/>
                    <a:pt x="132" y="230"/>
                    <a:pt x="132" y="233"/>
                  </a:cubicBezTo>
                  <a:cubicBezTo>
                    <a:pt x="132" y="259"/>
                    <a:pt x="132" y="259"/>
                    <a:pt x="132" y="259"/>
                  </a:cubicBezTo>
                  <a:cubicBezTo>
                    <a:pt x="70" y="256"/>
                    <a:pt x="21" y="208"/>
                    <a:pt x="16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7" y="146"/>
                    <a:pt x="50" y="144"/>
                    <a:pt x="50" y="140"/>
                  </a:cubicBezTo>
                  <a:cubicBezTo>
                    <a:pt x="50" y="137"/>
                    <a:pt x="47" y="134"/>
                    <a:pt x="44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8" y="71"/>
                    <a:pt x="69" y="19"/>
                    <a:pt x="132" y="16"/>
                  </a:cubicBezTo>
                  <a:cubicBezTo>
                    <a:pt x="132" y="47"/>
                    <a:pt x="132" y="47"/>
                    <a:pt x="132" y="47"/>
                  </a:cubicBezTo>
                  <a:cubicBezTo>
                    <a:pt x="132" y="50"/>
                    <a:pt x="135" y="53"/>
                    <a:pt x="138" y="53"/>
                  </a:cubicBezTo>
                  <a:cubicBezTo>
                    <a:pt x="141" y="53"/>
                    <a:pt x="144" y="50"/>
                    <a:pt x="144" y="47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207" y="19"/>
                    <a:pt x="258" y="71"/>
                    <a:pt x="260" y="134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7" y="134"/>
                    <a:pt x="224" y="137"/>
                    <a:pt x="224" y="140"/>
                  </a:cubicBezTo>
                  <a:cubicBezTo>
                    <a:pt x="224" y="144"/>
                    <a:pt x="227" y="146"/>
                    <a:pt x="230" y="146"/>
                  </a:cubicBezTo>
                  <a:cubicBezTo>
                    <a:pt x="260" y="146"/>
                    <a:pt x="260" y="146"/>
                    <a:pt x="260" y="146"/>
                  </a:cubicBezTo>
                  <a:cubicBezTo>
                    <a:pt x="255" y="208"/>
                    <a:pt x="206" y="256"/>
                    <a:pt x="144" y="2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4"/>
            <p:cNvSpPr>
              <a:spLocks noEditPoints="1"/>
            </p:cNvSpPr>
            <p:nvPr/>
          </p:nvSpPr>
          <p:spPr bwMode="auto">
            <a:xfrm>
              <a:off x="-387350" y="3802063"/>
              <a:ext cx="295275" cy="496887"/>
            </a:xfrm>
            <a:custGeom>
              <a:avLst/>
              <a:gdLst>
                <a:gd name="T0" fmla="*/ 74 w 78"/>
                <a:gd name="T1" fmla="*/ 2 h 131"/>
                <a:gd name="T2" fmla="*/ 66 w 78"/>
                <a:gd name="T3" fmla="*/ 3 h 131"/>
                <a:gd name="T4" fmla="*/ 26 w 78"/>
                <a:gd name="T5" fmla="*/ 57 h 131"/>
                <a:gd name="T6" fmla="*/ 20 w 78"/>
                <a:gd name="T7" fmla="*/ 56 h 131"/>
                <a:gd name="T8" fmla="*/ 0 w 78"/>
                <a:gd name="T9" fmla="*/ 76 h 131"/>
                <a:gd name="T10" fmla="*/ 20 w 78"/>
                <a:gd name="T11" fmla="*/ 96 h 131"/>
                <a:gd name="T12" fmla="*/ 24 w 78"/>
                <a:gd name="T13" fmla="*/ 95 h 131"/>
                <a:gd name="T14" fmla="*/ 53 w 78"/>
                <a:gd name="T15" fmla="*/ 129 h 131"/>
                <a:gd name="T16" fmla="*/ 57 w 78"/>
                <a:gd name="T17" fmla="*/ 131 h 131"/>
                <a:gd name="T18" fmla="*/ 61 w 78"/>
                <a:gd name="T19" fmla="*/ 130 h 131"/>
                <a:gd name="T20" fmla="*/ 62 w 78"/>
                <a:gd name="T21" fmla="*/ 121 h 131"/>
                <a:gd name="T22" fmla="*/ 35 w 78"/>
                <a:gd name="T23" fmla="*/ 89 h 131"/>
                <a:gd name="T24" fmla="*/ 40 w 78"/>
                <a:gd name="T25" fmla="*/ 76 h 131"/>
                <a:gd name="T26" fmla="*/ 36 w 78"/>
                <a:gd name="T27" fmla="*/ 63 h 131"/>
                <a:gd name="T28" fmla="*/ 76 w 78"/>
                <a:gd name="T29" fmla="*/ 10 h 131"/>
                <a:gd name="T30" fmla="*/ 74 w 78"/>
                <a:gd name="T31" fmla="*/ 2 h 131"/>
                <a:gd name="T32" fmla="*/ 12 w 78"/>
                <a:gd name="T33" fmla="*/ 76 h 131"/>
                <a:gd name="T34" fmla="*/ 20 w 78"/>
                <a:gd name="T35" fmla="*/ 68 h 131"/>
                <a:gd name="T36" fmla="*/ 28 w 78"/>
                <a:gd name="T37" fmla="*/ 76 h 131"/>
                <a:gd name="T38" fmla="*/ 20 w 78"/>
                <a:gd name="T39" fmla="*/ 84 h 131"/>
                <a:gd name="T40" fmla="*/ 12 w 78"/>
                <a:gd name="T41" fmla="*/ 76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131">
                  <a:moveTo>
                    <a:pt x="74" y="2"/>
                  </a:moveTo>
                  <a:cubicBezTo>
                    <a:pt x="72" y="0"/>
                    <a:pt x="68" y="0"/>
                    <a:pt x="66" y="3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4" y="56"/>
                    <a:pt x="22" y="56"/>
                    <a:pt x="20" y="56"/>
                  </a:cubicBezTo>
                  <a:cubicBezTo>
                    <a:pt x="9" y="56"/>
                    <a:pt x="0" y="65"/>
                    <a:pt x="0" y="76"/>
                  </a:cubicBezTo>
                  <a:cubicBezTo>
                    <a:pt x="0" y="87"/>
                    <a:pt x="9" y="96"/>
                    <a:pt x="20" y="96"/>
                  </a:cubicBezTo>
                  <a:cubicBezTo>
                    <a:pt x="21" y="96"/>
                    <a:pt x="23" y="95"/>
                    <a:pt x="24" y="95"/>
                  </a:cubicBezTo>
                  <a:cubicBezTo>
                    <a:pt x="53" y="129"/>
                    <a:pt x="53" y="129"/>
                    <a:pt x="53" y="129"/>
                  </a:cubicBezTo>
                  <a:cubicBezTo>
                    <a:pt x="54" y="131"/>
                    <a:pt x="56" y="131"/>
                    <a:pt x="57" y="131"/>
                  </a:cubicBezTo>
                  <a:cubicBezTo>
                    <a:pt x="59" y="131"/>
                    <a:pt x="60" y="131"/>
                    <a:pt x="61" y="130"/>
                  </a:cubicBezTo>
                  <a:cubicBezTo>
                    <a:pt x="64" y="128"/>
                    <a:pt x="64" y="124"/>
                    <a:pt x="62" y="121"/>
                  </a:cubicBezTo>
                  <a:cubicBezTo>
                    <a:pt x="35" y="89"/>
                    <a:pt x="35" y="89"/>
                    <a:pt x="35" y="89"/>
                  </a:cubicBezTo>
                  <a:cubicBezTo>
                    <a:pt x="38" y="85"/>
                    <a:pt x="40" y="81"/>
                    <a:pt x="40" y="76"/>
                  </a:cubicBezTo>
                  <a:cubicBezTo>
                    <a:pt x="40" y="71"/>
                    <a:pt x="38" y="67"/>
                    <a:pt x="36" y="63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8" y="8"/>
                    <a:pt x="77" y="4"/>
                    <a:pt x="74" y="2"/>
                  </a:cubicBezTo>
                  <a:close/>
                  <a:moveTo>
                    <a:pt x="12" y="76"/>
                  </a:moveTo>
                  <a:cubicBezTo>
                    <a:pt x="12" y="71"/>
                    <a:pt x="15" y="68"/>
                    <a:pt x="20" y="68"/>
                  </a:cubicBezTo>
                  <a:cubicBezTo>
                    <a:pt x="24" y="68"/>
                    <a:pt x="28" y="71"/>
                    <a:pt x="28" y="76"/>
                  </a:cubicBezTo>
                  <a:cubicBezTo>
                    <a:pt x="28" y="80"/>
                    <a:pt x="24" y="84"/>
                    <a:pt x="20" y="84"/>
                  </a:cubicBezTo>
                  <a:cubicBezTo>
                    <a:pt x="15" y="84"/>
                    <a:pt x="12" y="80"/>
                    <a:pt x="12" y="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793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34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0" y="-8550"/>
            <a:ext cx="12192000" cy="6866550"/>
          </a:xfrm>
          <a:prstGeom prst="rect">
            <a:avLst/>
          </a:prstGeom>
          <a:solidFill>
            <a:srgbClr val="262626">
              <a:alpha val="6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300038" y="260350"/>
            <a:ext cx="316565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Pricing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300038" y="858776"/>
            <a:ext cx="3165651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>
                <a:solidFill>
                  <a:schemeClr val="bg1">
                    <a:lumMod val="95000"/>
                  </a:schemeClr>
                </a:solidFill>
              </a:rPr>
              <a:t>Basic elements</a:t>
            </a:r>
            <a:endParaRPr lang="en-US" i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 flipH="1">
            <a:off x="4750327" y="1722845"/>
            <a:ext cx="2820514" cy="3975257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2021049" y="1884314"/>
            <a:ext cx="2578790" cy="3646206"/>
          </a:xfrm>
          <a:prstGeom prst="rect">
            <a:avLst/>
          </a:prstGeom>
          <a:solidFill>
            <a:schemeClr val="bg1">
              <a:alpha val="19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lt-LT" sz="14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28" name="TextBox 27"/>
          <p:cNvSpPr txBox="1"/>
          <p:nvPr/>
        </p:nvSpPr>
        <p:spPr>
          <a:xfrm flipH="1">
            <a:off x="2186757" y="2598003"/>
            <a:ext cx="2212725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1400">
                <a:effectLst>
                  <a:outerShdw dist="38100" dir="2700000" algn="tl" rotWithShape="0">
                    <a:srgbClr val="85302F"/>
                  </a:outerShdw>
                </a:effectLst>
                <a:latin typeface="Arial Black" panose="020B0A04020102020204" pitchFamily="34" charset="0"/>
              </a:defRPr>
            </a:lvl1pPr>
          </a:lstStyle>
          <a:p>
            <a:pPr marL="0" marR="0" lvl="0" indent="0" algn="ctr" defTabSz="4572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$</a:t>
            </a:r>
            <a:r>
              <a:rPr kumimoji="0" lang="en-US" sz="32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100</a:t>
            </a: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/year</a:t>
            </a:r>
            <a:endParaRPr kumimoji="0" lang="lt-LT" sz="200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ExtraLight" charset="0"/>
              <a:ea typeface="Source Sans Pro ExtraLight" charset="0"/>
              <a:cs typeface="Source Sans Pro ExtraLight" charset="0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 flipH="1">
            <a:off x="2318130" y="2491678"/>
            <a:ext cx="1960564" cy="0"/>
          </a:xfrm>
          <a:prstGeom prst="line">
            <a:avLst/>
          </a:prstGeom>
          <a:ln w="127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 flipH="1">
            <a:off x="2118152" y="1911365"/>
            <a:ext cx="2384583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gray</a:t>
            </a:r>
            <a:endParaRPr kumimoji="0" lang="lt-LT" sz="2400" b="1" u="none" strike="noStrike" kern="0" cap="all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40" name="Title 1"/>
          <p:cNvSpPr txBox="1">
            <a:spLocks/>
          </p:cNvSpPr>
          <p:nvPr/>
        </p:nvSpPr>
        <p:spPr>
          <a:xfrm>
            <a:off x="2285537" y="3144839"/>
            <a:ext cx="1993158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ipsum dolor sit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2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41" name="TextBox 40"/>
          <p:cNvSpPr txBox="1"/>
          <p:nvPr/>
        </p:nvSpPr>
        <p:spPr>
          <a:xfrm flipH="1">
            <a:off x="5036897" y="2404363"/>
            <a:ext cx="2212725" cy="494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1400">
                <a:effectLst>
                  <a:outerShdw dist="38100" dir="2700000" algn="tl" rotWithShape="0">
                    <a:srgbClr val="85302F"/>
                  </a:outerShdw>
                </a:effectLst>
                <a:latin typeface="Arial Black" panose="020B0A04020102020204" pitchFamily="34" charset="0"/>
              </a:defRPr>
            </a:lvl1pPr>
          </a:lstStyle>
          <a:p>
            <a:pPr marL="0" marR="0" lvl="0" indent="0" algn="ctr" defTabSz="4572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$</a:t>
            </a:r>
            <a:r>
              <a:rPr kumimoji="0" lang="en-US" sz="32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300</a:t>
            </a: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/year</a:t>
            </a:r>
            <a:endParaRPr kumimoji="0" lang="lt-LT" sz="200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Source Sans Pro ExtraLight" charset="0"/>
              <a:ea typeface="Source Sans Pro ExtraLight" charset="0"/>
              <a:cs typeface="Source Sans Pro ExtraLight" charset="0"/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5180301" y="2298038"/>
            <a:ext cx="1960564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 flipH="1">
            <a:off x="4968292" y="1746867"/>
            <a:ext cx="2384583" cy="49571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gold</a:t>
            </a:r>
            <a:endParaRPr kumimoji="0" lang="lt-LT" sz="2400" b="1" u="none" strike="noStrike" kern="0" cap="all" spc="0" normalizeH="0" baseline="0" noProof="0" dirty="0" smtClean="0">
              <a:ln>
                <a:noFill/>
              </a:ln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5135677" y="2951199"/>
            <a:ext cx="1993158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20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Lorem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ipsum dolor sit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2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. </a:t>
            </a:r>
            <a:endParaRPr lang="en-US" sz="1200" dirty="0">
              <a:solidFill>
                <a:schemeClr val="tx1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45" name="Rectangle 44"/>
          <p:cNvSpPr/>
          <p:nvPr/>
        </p:nvSpPr>
        <p:spPr>
          <a:xfrm flipH="1">
            <a:off x="7738225" y="1884314"/>
            <a:ext cx="2578790" cy="3646206"/>
          </a:xfrm>
          <a:prstGeom prst="rect">
            <a:avLst/>
          </a:prstGeom>
          <a:solidFill>
            <a:schemeClr val="bg1">
              <a:alpha val="19000"/>
            </a:scheme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00"/>
            <a:endParaRPr lang="lt-LT" sz="14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46" name="TextBox 45"/>
          <p:cNvSpPr txBox="1"/>
          <p:nvPr/>
        </p:nvSpPr>
        <p:spPr>
          <a:xfrm flipH="1">
            <a:off x="7903933" y="2598003"/>
            <a:ext cx="2212725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1400">
                <a:effectLst>
                  <a:outerShdw dist="38100" dir="2700000" algn="tl" rotWithShape="0">
                    <a:srgbClr val="85302F"/>
                  </a:outerShdw>
                </a:effectLst>
                <a:latin typeface="Arial Black" panose="020B0A04020102020204" pitchFamily="34" charset="0"/>
              </a:defRPr>
            </a:lvl1pPr>
          </a:lstStyle>
          <a:p>
            <a:pPr marL="0" marR="0" lvl="0" indent="0" algn="ctr" defTabSz="4572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$</a:t>
            </a:r>
            <a:r>
              <a:rPr kumimoji="0" lang="en-US" sz="32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200</a:t>
            </a:r>
            <a:r>
              <a:rPr kumimoji="0" lang="en-US" sz="240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ExtraLight" charset="0"/>
                <a:ea typeface="Source Sans Pro ExtraLight" charset="0"/>
                <a:cs typeface="Source Sans Pro ExtraLight" charset="0"/>
              </a:rPr>
              <a:t>/year</a:t>
            </a:r>
            <a:endParaRPr kumimoji="0" lang="lt-LT" sz="200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ExtraLight" charset="0"/>
              <a:ea typeface="Source Sans Pro ExtraLight" charset="0"/>
              <a:cs typeface="Source Sans Pro ExtraLight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8035306" y="2491678"/>
            <a:ext cx="1960564" cy="0"/>
          </a:xfrm>
          <a:prstGeom prst="line">
            <a:avLst/>
          </a:prstGeom>
          <a:ln w="127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 flipH="1">
            <a:off x="7835328" y="1911365"/>
            <a:ext cx="2384583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silver</a:t>
            </a:r>
            <a:endParaRPr kumimoji="0" lang="lt-LT" sz="2400" b="1" u="none" strike="noStrike" kern="0" cap="all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8002713" y="3144839"/>
            <a:ext cx="1993158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ipsum dolor sit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2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61" name="Freeform 60"/>
          <p:cNvSpPr/>
          <p:nvPr/>
        </p:nvSpPr>
        <p:spPr>
          <a:xfrm>
            <a:off x="402240" y="457200"/>
            <a:ext cx="11256360" cy="6029325"/>
          </a:xfrm>
          <a:custGeom>
            <a:avLst/>
            <a:gdLst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  <a:gd name="connsiteX5" fmla="*/ 1784517 w 11256360"/>
              <a:gd name="connsiteY5" fmla="*/ 82128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6" fmla="*/ 1875957 w 11256360"/>
              <a:gd name="connsiteY6" fmla="*/ 912720 h 6029325"/>
              <a:gd name="connsiteX0" fmla="*/ 1784517 w 11256360"/>
              <a:gd name="connsiteY0" fmla="*/ 821280 h 6029325"/>
              <a:gd name="connsiteX1" fmla="*/ 1784517 w 11256360"/>
              <a:gd name="connsiteY1" fmla="*/ 0 h 6029325"/>
              <a:gd name="connsiteX2" fmla="*/ 11256360 w 11256360"/>
              <a:gd name="connsiteY2" fmla="*/ 0 h 6029325"/>
              <a:gd name="connsiteX3" fmla="*/ 11256360 w 11256360"/>
              <a:gd name="connsiteY3" fmla="*/ 6029325 h 6029325"/>
              <a:gd name="connsiteX4" fmla="*/ 0 w 11256360"/>
              <a:gd name="connsiteY4" fmla="*/ 6029325 h 6029325"/>
              <a:gd name="connsiteX5" fmla="*/ 0 w 11256360"/>
              <a:gd name="connsiteY5" fmla="*/ 821280 h 6029325"/>
              <a:gd name="connsiteX0" fmla="*/ 1784517 w 11256360"/>
              <a:gd name="connsiteY0" fmla="*/ 0 h 6029325"/>
              <a:gd name="connsiteX1" fmla="*/ 11256360 w 11256360"/>
              <a:gd name="connsiteY1" fmla="*/ 0 h 6029325"/>
              <a:gd name="connsiteX2" fmla="*/ 11256360 w 11256360"/>
              <a:gd name="connsiteY2" fmla="*/ 6029325 h 6029325"/>
              <a:gd name="connsiteX3" fmla="*/ 0 w 11256360"/>
              <a:gd name="connsiteY3" fmla="*/ 6029325 h 6029325"/>
              <a:gd name="connsiteX4" fmla="*/ 0 w 11256360"/>
              <a:gd name="connsiteY4" fmla="*/ 821280 h 602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56360" h="6029325">
                <a:moveTo>
                  <a:pt x="1784517" y="0"/>
                </a:moveTo>
                <a:lnTo>
                  <a:pt x="11256360" y="0"/>
                </a:lnTo>
                <a:lnTo>
                  <a:pt x="11256360" y="6029325"/>
                </a:lnTo>
                <a:lnTo>
                  <a:pt x="0" y="6029325"/>
                </a:lnTo>
                <a:lnTo>
                  <a:pt x="0" y="821280"/>
                </a:lnTo>
              </a:path>
            </a:pathLst>
          </a:custGeom>
          <a:noFill/>
          <a:ln w="1270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704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9" b="7809"/>
          <a:stretch>
            <a:fillRect/>
          </a:stretch>
        </p:blipFill>
        <p:spPr/>
      </p:pic>
      <p:sp>
        <p:nvSpPr>
          <p:cNvPr id="18" name="Rectangle 17"/>
          <p:cNvSpPr/>
          <p:nvPr/>
        </p:nvSpPr>
        <p:spPr>
          <a:xfrm rot="5400000">
            <a:off x="10771684" y="460585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19" name="Rectangle 18"/>
          <p:cNvSpPr/>
          <p:nvPr/>
        </p:nvSpPr>
        <p:spPr>
          <a:xfrm rot="5400000">
            <a:off x="10771684" y="5147474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0" name="Rectangle 19"/>
          <p:cNvSpPr/>
          <p:nvPr/>
        </p:nvSpPr>
        <p:spPr>
          <a:xfrm rot="5400000">
            <a:off x="10771684" y="568908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079399" y="424543"/>
            <a:ext cx="3846286" cy="5214257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332492" y="872122"/>
            <a:ext cx="3289300" cy="914400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>
                <a:solidFill>
                  <a:schemeClr val="accent4"/>
                </a:solidFill>
                <a:latin typeface="Source Sans Pro Black" panose="020B0803030403020204" pitchFamily="34" charset="-18"/>
              </a:rPr>
              <a:t>THANK YOU</a:t>
            </a:r>
            <a:endParaRPr lang="en-US" sz="4000" dirty="0">
              <a:solidFill>
                <a:schemeClr val="accent4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1332492" y="1971251"/>
            <a:ext cx="3289300" cy="3414486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tx1"/>
                </a:solidFill>
                <a:latin typeface="Source Sans Pro Semibold" panose="020B0603030403020204" pitchFamily="34" charset="-18"/>
              </a:rPr>
              <a:t>CONTACT</a:t>
            </a:r>
            <a:endParaRPr lang="pl-PL" sz="2000" dirty="0" smtClean="0">
              <a:solidFill>
                <a:schemeClr val="tx1"/>
              </a:solidFill>
              <a:latin typeface="Source Sans Pro Semibold" panose="020B0603030403020204" pitchFamily="34" charset="-18"/>
            </a:endParaRPr>
          </a:p>
          <a:p>
            <a:endParaRPr lang="en-US" sz="2000" dirty="0" smtClean="0">
              <a:solidFill>
                <a:schemeClr val="tx1"/>
              </a:solidFill>
              <a:latin typeface="Source Sans Pro Semibold" panose="020B0603030403020204" pitchFamily="34" charset="-18"/>
            </a:endParaRPr>
          </a:p>
          <a:p>
            <a:pPr>
              <a:tabLst>
                <a:tab pos="3051175" algn="r"/>
              </a:tabLst>
            </a:pPr>
            <a:r>
              <a:rPr lang="pl-PL" sz="16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Johny</a:t>
            </a:r>
            <a:r>
              <a:rPr lang="pl-PL" sz="16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pl-PL" sz="16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Doe</a:t>
            </a:r>
            <a:endParaRPr lang="pl-PL" sz="1600" dirty="0" smtClean="0">
              <a:solidFill>
                <a:schemeClr val="tx1"/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r>
              <a:rPr lang="en-US" sz="16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123 456 789</a:t>
            </a:r>
          </a:p>
          <a:p>
            <a:pPr>
              <a:tabLst>
                <a:tab pos="3051175" algn="r"/>
              </a:tabLst>
            </a:pPr>
            <a:r>
              <a:rPr lang="pl-PL" sz="16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kotio</a:t>
            </a:r>
            <a:r>
              <a:rPr lang="en-US" sz="16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@</a:t>
            </a:r>
            <a:r>
              <a:rPr lang="pl-PL" sz="1600" dirty="0" err="1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kotio</a:t>
            </a:r>
            <a:r>
              <a:rPr lang="en-US" sz="1600" dirty="0" smtClean="0">
                <a:solidFill>
                  <a:schemeClr val="tx1"/>
                </a:solidFill>
                <a:latin typeface="Source Sans Pro Light" panose="020B0403030403020204" pitchFamily="34" charset="-18"/>
              </a:rPr>
              <a:t>.com</a:t>
            </a:r>
          </a:p>
          <a:p>
            <a:pPr>
              <a:tabLst>
                <a:tab pos="3051175" algn="r"/>
              </a:tabLst>
            </a:pPr>
            <a:endParaRPr lang="en-US" sz="1600" dirty="0" smtClean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endParaRPr lang="pl-PL" sz="1600" dirty="0" smtClean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endParaRPr lang="pl-PL" sz="1600" dirty="0" smtClean="0">
              <a:solidFill>
                <a:schemeClr val="accent4"/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r>
              <a:rPr lang="pl-PL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Company a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dress</a:t>
            </a:r>
          </a:p>
          <a:p>
            <a:pPr>
              <a:tabLst>
                <a:tab pos="3051175" algn="r"/>
              </a:tabLst>
            </a:pPr>
            <a:r>
              <a:rPr lang="pl-PL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Kotio</a:t>
            </a:r>
            <a:r>
              <a:rPr lang="pl-PL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pl-PL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street</a:t>
            </a:r>
            <a:r>
              <a:rPr lang="pl-PL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 546</a:t>
            </a:r>
          </a:p>
          <a:p>
            <a:pPr>
              <a:tabLst>
                <a:tab pos="3051175" algn="r"/>
              </a:tabLst>
            </a:pPr>
            <a:r>
              <a:rPr lang="pl-PL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12-234 </a:t>
            </a:r>
            <a:r>
              <a:rPr lang="pl-PL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Warsaw</a:t>
            </a:r>
            <a:endParaRPr lang="pl-PL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endParaRPr lang="en-US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Source Sans Pro Light" panose="020B0403030403020204" pitchFamily="34" charset="-18"/>
            </a:endParaRPr>
          </a:p>
          <a:p>
            <a:pPr>
              <a:tabLst>
                <a:tab pos="3051175" algn="r"/>
              </a:tabLst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ource Sans Pro Light" panose="020B0403030403020204" pitchFamily="34" charset="-18"/>
              </a:rPr>
              <a:t>Poland</a:t>
            </a:r>
          </a:p>
        </p:txBody>
      </p:sp>
      <p:sp>
        <p:nvSpPr>
          <p:cNvPr id="29" name="Rectangle 28"/>
          <p:cNvSpPr/>
          <p:nvPr/>
        </p:nvSpPr>
        <p:spPr>
          <a:xfrm rot="5400000">
            <a:off x="11779828" y="516433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4" name="Freeform 49"/>
          <p:cNvSpPr>
            <a:spLocks noEditPoints="1"/>
          </p:cNvSpPr>
          <p:nvPr/>
        </p:nvSpPr>
        <p:spPr bwMode="auto">
          <a:xfrm>
            <a:off x="11865470" y="5284962"/>
            <a:ext cx="227807" cy="216605"/>
          </a:xfrm>
          <a:custGeom>
            <a:avLst/>
            <a:gdLst>
              <a:gd name="T0" fmla="*/ 775 w 3416"/>
              <a:gd name="T1" fmla="*/ 3248 h 3248"/>
              <a:gd name="T2" fmla="*/ 2573 w 3416"/>
              <a:gd name="T3" fmla="*/ 1005 h 3248"/>
              <a:gd name="T4" fmla="*/ 2755 w 3416"/>
              <a:gd name="T5" fmla="*/ 1021 h 3248"/>
              <a:gd name="T6" fmla="*/ 2921 w 3416"/>
              <a:gd name="T7" fmla="*/ 1070 h 3248"/>
              <a:gd name="T8" fmla="*/ 3069 w 3416"/>
              <a:gd name="T9" fmla="*/ 1152 h 3248"/>
              <a:gd name="T10" fmla="*/ 3194 w 3416"/>
              <a:gd name="T11" fmla="*/ 1267 h 3248"/>
              <a:gd name="T12" fmla="*/ 3295 w 3416"/>
              <a:gd name="T13" fmla="*/ 1417 h 3248"/>
              <a:gd name="T14" fmla="*/ 3367 w 3416"/>
              <a:gd name="T15" fmla="*/ 1603 h 3248"/>
              <a:gd name="T16" fmla="*/ 3408 w 3416"/>
              <a:gd name="T17" fmla="*/ 1824 h 3248"/>
              <a:gd name="T18" fmla="*/ 3416 w 3416"/>
              <a:gd name="T19" fmla="*/ 3248 h 3248"/>
              <a:gd name="T20" fmla="*/ 2683 w 3416"/>
              <a:gd name="T21" fmla="*/ 2025 h 3248"/>
              <a:gd name="T22" fmla="*/ 2666 w 3416"/>
              <a:gd name="T23" fmla="*/ 1885 h 3248"/>
              <a:gd name="T24" fmla="*/ 2626 w 3416"/>
              <a:gd name="T25" fmla="*/ 1767 h 3248"/>
              <a:gd name="T26" fmla="*/ 2563 w 3416"/>
              <a:gd name="T27" fmla="*/ 1675 h 3248"/>
              <a:gd name="T28" fmla="*/ 2474 w 3416"/>
              <a:gd name="T29" fmla="*/ 1612 h 3248"/>
              <a:gd name="T30" fmla="*/ 2358 w 3416"/>
              <a:gd name="T31" fmla="*/ 1582 h 3248"/>
              <a:gd name="T32" fmla="*/ 2226 w 3416"/>
              <a:gd name="T33" fmla="*/ 1589 h 3248"/>
              <a:gd name="T34" fmla="*/ 2115 w 3416"/>
              <a:gd name="T35" fmla="*/ 1633 h 3248"/>
              <a:gd name="T36" fmla="*/ 2029 w 3416"/>
              <a:gd name="T37" fmla="*/ 1702 h 3248"/>
              <a:gd name="T38" fmla="*/ 1967 w 3416"/>
              <a:gd name="T39" fmla="*/ 1786 h 3248"/>
              <a:gd name="T40" fmla="*/ 1927 w 3416"/>
              <a:gd name="T41" fmla="*/ 1877 h 3248"/>
              <a:gd name="T42" fmla="*/ 1914 w 3416"/>
              <a:gd name="T43" fmla="*/ 1985 h 3248"/>
              <a:gd name="T44" fmla="*/ 1180 w 3416"/>
              <a:gd name="T45" fmla="*/ 3248 h 3248"/>
              <a:gd name="T46" fmla="*/ 1181 w 3416"/>
              <a:gd name="T47" fmla="*/ 3215 h 3248"/>
              <a:gd name="T48" fmla="*/ 1181 w 3416"/>
              <a:gd name="T49" fmla="*/ 3121 h 3248"/>
              <a:gd name="T50" fmla="*/ 1182 w 3416"/>
              <a:gd name="T51" fmla="*/ 2977 h 3248"/>
              <a:gd name="T52" fmla="*/ 1182 w 3416"/>
              <a:gd name="T53" fmla="*/ 2793 h 3248"/>
              <a:gd name="T54" fmla="*/ 1183 w 3416"/>
              <a:gd name="T55" fmla="*/ 2581 h 3248"/>
              <a:gd name="T56" fmla="*/ 1184 w 3416"/>
              <a:gd name="T57" fmla="*/ 2350 h 3248"/>
              <a:gd name="T58" fmla="*/ 1184 w 3416"/>
              <a:gd name="T59" fmla="*/ 2109 h 3248"/>
              <a:gd name="T60" fmla="*/ 1185 w 3416"/>
              <a:gd name="T61" fmla="*/ 1870 h 3248"/>
              <a:gd name="T62" fmla="*/ 1185 w 3416"/>
              <a:gd name="T63" fmla="*/ 1642 h 3248"/>
              <a:gd name="T64" fmla="*/ 1184 w 3416"/>
              <a:gd name="T65" fmla="*/ 1437 h 3248"/>
              <a:gd name="T66" fmla="*/ 1184 w 3416"/>
              <a:gd name="T67" fmla="*/ 1264 h 3248"/>
              <a:gd name="T68" fmla="*/ 1182 w 3416"/>
              <a:gd name="T69" fmla="*/ 1134 h 3248"/>
              <a:gd name="T70" fmla="*/ 1180 w 3416"/>
              <a:gd name="T71" fmla="*/ 1057 h 3248"/>
              <a:gd name="T72" fmla="*/ 1911 w 3416"/>
              <a:gd name="T73" fmla="*/ 1371 h 3248"/>
              <a:gd name="T74" fmla="*/ 1913 w 3416"/>
              <a:gd name="T75" fmla="*/ 1367 h 3248"/>
              <a:gd name="T76" fmla="*/ 1969 w 3416"/>
              <a:gd name="T77" fmla="*/ 1289 h 3248"/>
              <a:gd name="T78" fmla="*/ 2041 w 3416"/>
              <a:gd name="T79" fmla="*/ 1207 h 3248"/>
              <a:gd name="T80" fmla="*/ 2133 w 3416"/>
              <a:gd name="T81" fmla="*/ 1130 h 3248"/>
              <a:gd name="T82" fmla="*/ 2250 w 3416"/>
              <a:gd name="T83" fmla="*/ 1066 h 3248"/>
              <a:gd name="T84" fmla="*/ 2395 w 3416"/>
              <a:gd name="T85" fmla="*/ 1022 h 3248"/>
              <a:gd name="T86" fmla="*/ 2573 w 3416"/>
              <a:gd name="T87" fmla="*/ 1005 h 3248"/>
              <a:gd name="T88" fmla="*/ 516 w 3416"/>
              <a:gd name="T89" fmla="*/ 10 h 3248"/>
              <a:gd name="T90" fmla="*/ 644 w 3416"/>
              <a:gd name="T91" fmla="*/ 58 h 3248"/>
              <a:gd name="T92" fmla="*/ 739 w 3416"/>
              <a:gd name="T93" fmla="*/ 139 h 3248"/>
              <a:gd name="T94" fmla="*/ 800 w 3416"/>
              <a:gd name="T95" fmla="*/ 248 h 3248"/>
              <a:gd name="T96" fmla="*/ 824 w 3416"/>
              <a:gd name="T97" fmla="*/ 379 h 3248"/>
              <a:gd name="T98" fmla="*/ 802 w 3416"/>
              <a:gd name="T99" fmla="*/ 507 h 3248"/>
              <a:gd name="T100" fmla="*/ 741 w 3416"/>
              <a:gd name="T101" fmla="*/ 616 h 3248"/>
              <a:gd name="T102" fmla="*/ 644 w 3416"/>
              <a:gd name="T103" fmla="*/ 699 h 3248"/>
              <a:gd name="T104" fmla="*/ 513 w 3416"/>
              <a:gd name="T105" fmla="*/ 748 h 3248"/>
              <a:gd name="T106" fmla="*/ 405 w 3416"/>
              <a:gd name="T107" fmla="*/ 757 h 3248"/>
              <a:gd name="T108" fmla="*/ 260 w 3416"/>
              <a:gd name="T109" fmla="*/ 736 h 3248"/>
              <a:gd name="T110" fmla="*/ 143 w 3416"/>
              <a:gd name="T111" fmla="*/ 675 h 3248"/>
              <a:gd name="T112" fmla="*/ 58 w 3416"/>
              <a:gd name="T113" fmla="*/ 582 h 3248"/>
              <a:gd name="T114" fmla="*/ 9 w 3416"/>
              <a:gd name="T115" fmla="*/ 466 h 3248"/>
              <a:gd name="T116" fmla="*/ 2 w 3416"/>
              <a:gd name="T117" fmla="*/ 334 h 3248"/>
              <a:gd name="T118" fmla="*/ 38 w 3416"/>
              <a:gd name="T119" fmla="*/ 209 h 3248"/>
              <a:gd name="T120" fmla="*/ 113 w 3416"/>
              <a:gd name="T121" fmla="*/ 109 h 3248"/>
              <a:gd name="T122" fmla="*/ 223 w 3416"/>
              <a:gd name="T123" fmla="*/ 37 h 3248"/>
              <a:gd name="T124" fmla="*/ 362 w 3416"/>
              <a:gd name="T125" fmla="*/ 2 h 3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16" h="3248">
                <a:moveTo>
                  <a:pt x="43" y="1057"/>
                </a:moveTo>
                <a:lnTo>
                  <a:pt x="775" y="1057"/>
                </a:lnTo>
                <a:lnTo>
                  <a:pt x="775" y="3248"/>
                </a:lnTo>
                <a:lnTo>
                  <a:pt x="43" y="3248"/>
                </a:lnTo>
                <a:lnTo>
                  <a:pt x="43" y="1057"/>
                </a:lnTo>
                <a:close/>
                <a:moveTo>
                  <a:pt x="2573" y="1005"/>
                </a:moveTo>
                <a:lnTo>
                  <a:pt x="2635" y="1007"/>
                </a:lnTo>
                <a:lnTo>
                  <a:pt x="2696" y="1013"/>
                </a:lnTo>
                <a:lnTo>
                  <a:pt x="2755" y="1021"/>
                </a:lnTo>
                <a:lnTo>
                  <a:pt x="2813" y="1034"/>
                </a:lnTo>
                <a:lnTo>
                  <a:pt x="2867" y="1050"/>
                </a:lnTo>
                <a:lnTo>
                  <a:pt x="2921" y="1070"/>
                </a:lnTo>
                <a:lnTo>
                  <a:pt x="2973" y="1094"/>
                </a:lnTo>
                <a:lnTo>
                  <a:pt x="3022" y="1121"/>
                </a:lnTo>
                <a:lnTo>
                  <a:pt x="3069" y="1152"/>
                </a:lnTo>
                <a:lnTo>
                  <a:pt x="3114" y="1187"/>
                </a:lnTo>
                <a:lnTo>
                  <a:pt x="3155" y="1225"/>
                </a:lnTo>
                <a:lnTo>
                  <a:pt x="3194" y="1267"/>
                </a:lnTo>
                <a:lnTo>
                  <a:pt x="3231" y="1313"/>
                </a:lnTo>
                <a:lnTo>
                  <a:pt x="3265" y="1364"/>
                </a:lnTo>
                <a:lnTo>
                  <a:pt x="3295" y="1417"/>
                </a:lnTo>
                <a:lnTo>
                  <a:pt x="3323" y="1475"/>
                </a:lnTo>
                <a:lnTo>
                  <a:pt x="3347" y="1537"/>
                </a:lnTo>
                <a:lnTo>
                  <a:pt x="3367" y="1603"/>
                </a:lnTo>
                <a:lnTo>
                  <a:pt x="3385" y="1673"/>
                </a:lnTo>
                <a:lnTo>
                  <a:pt x="3398" y="1746"/>
                </a:lnTo>
                <a:lnTo>
                  <a:pt x="3408" y="1824"/>
                </a:lnTo>
                <a:lnTo>
                  <a:pt x="3414" y="1906"/>
                </a:lnTo>
                <a:lnTo>
                  <a:pt x="3416" y="1991"/>
                </a:lnTo>
                <a:lnTo>
                  <a:pt x="3416" y="3248"/>
                </a:lnTo>
                <a:lnTo>
                  <a:pt x="2684" y="3248"/>
                </a:lnTo>
                <a:lnTo>
                  <a:pt x="2684" y="2076"/>
                </a:lnTo>
                <a:lnTo>
                  <a:pt x="2683" y="2025"/>
                </a:lnTo>
                <a:lnTo>
                  <a:pt x="2679" y="1976"/>
                </a:lnTo>
                <a:lnTo>
                  <a:pt x="2674" y="1929"/>
                </a:lnTo>
                <a:lnTo>
                  <a:pt x="2666" y="1885"/>
                </a:lnTo>
                <a:lnTo>
                  <a:pt x="2655" y="1843"/>
                </a:lnTo>
                <a:lnTo>
                  <a:pt x="2642" y="1804"/>
                </a:lnTo>
                <a:lnTo>
                  <a:pt x="2626" y="1767"/>
                </a:lnTo>
                <a:lnTo>
                  <a:pt x="2608" y="1734"/>
                </a:lnTo>
                <a:lnTo>
                  <a:pt x="2587" y="1703"/>
                </a:lnTo>
                <a:lnTo>
                  <a:pt x="2563" y="1675"/>
                </a:lnTo>
                <a:lnTo>
                  <a:pt x="2536" y="1650"/>
                </a:lnTo>
                <a:lnTo>
                  <a:pt x="2507" y="1630"/>
                </a:lnTo>
                <a:lnTo>
                  <a:pt x="2474" y="1612"/>
                </a:lnTo>
                <a:lnTo>
                  <a:pt x="2439" y="1599"/>
                </a:lnTo>
                <a:lnTo>
                  <a:pt x="2399" y="1588"/>
                </a:lnTo>
                <a:lnTo>
                  <a:pt x="2358" y="1582"/>
                </a:lnTo>
                <a:lnTo>
                  <a:pt x="2313" y="1580"/>
                </a:lnTo>
                <a:lnTo>
                  <a:pt x="2268" y="1582"/>
                </a:lnTo>
                <a:lnTo>
                  <a:pt x="2226" y="1589"/>
                </a:lnTo>
                <a:lnTo>
                  <a:pt x="2186" y="1600"/>
                </a:lnTo>
                <a:lnTo>
                  <a:pt x="2149" y="1614"/>
                </a:lnTo>
                <a:lnTo>
                  <a:pt x="2115" y="1633"/>
                </a:lnTo>
                <a:lnTo>
                  <a:pt x="2084" y="1653"/>
                </a:lnTo>
                <a:lnTo>
                  <a:pt x="2055" y="1676"/>
                </a:lnTo>
                <a:lnTo>
                  <a:pt x="2029" y="1702"/>
                </a:lnTo>
                <a:lnTo>
                  <a:pt x="2006" y="1728"/>
                </a:lnTo>
                <a:lnTo>
                  <a:pt x="1984" y="1757"/>
                </a:lnTo>
                <a:lnTo>
                  <a:pt x="1967" y="1786"/>
                </a:lnTo>
                <a:lnTo>
                  <a:pt x="1950" y="1816"/>
                </a:lnTo>
                <a:lnTo>
                  <a:pt x="1937" y="1847"/>
                </a:lnTo>
                <a:lnTo>
                  <a:pt x="1927" y="1877"/>
                </a:lnTo>
                <a:lnTo>
                  <a:pt x="1920" y="1911"/>
                </a:lnTo>
                <a:lnTo>
                  <a:pt x="1916" y="1947"/>
                </a:lnTo>
                <a:lnTo>
                  <a:pt x="1914" y="1985"/>
                </a:lnTo>
                <a:lnTo>
                  <a:pt x="1913" y="2024"/>
                </a:lnTo>
                <a:lnTo>
                  <a:pt x="1913" y="3248"/>
                </a:lnTo>
                <a:lnTo>
                  <a:pt x="1180" y="3248"/>
                </a:lnTo>
                <a:lnTo>
                  <a:pt x="1180" y="3245"/>
                </a:lnTo>
                <a:lnTo>
                  <a:pt x="1181" y="3233"/>
                </a:lnTo>
                <a:lnTo>
                  <a:pt x="1181" y="3215"/>
                </a:lnTo>
                <a:lnTo>
                  <a:pt x="1181" y="3189"/>
                </a:lnTo>
                <a:lnTo>
                  <a:pt x="1181" y="3158"/>
                </a:lnTo>
                <a:lnTo>
                  <a:pt x="1181" y="3121"/>
                </a:lnTo>
                <a:lnTo>
                  <a:pt x="1181" y="3078"/>
                </a:lnTo>
                <a:lnTo>
                  <a:pt x="1181" y="3030"/>
                </a:lnTo>
                <a:lnTo>
                  <a:pt x="1182" y="2977"/>
                </a:lnTo>
                <a:lnTo>
                  <a:pt x="1182" y="2920"/>
                </a:lnTo>
                <a:lnTo>
                  <a:pt x="1182" y="2858"/>
                </a:lnTo>
                <a:lnTo>
                  <a:pt x="1182" y="2793"/>
                </a:lnTo>
                <a:lnTo>
                  <a:pt x="1183" y="2725"/>
                </a:lnTo>
                <a:lnTo>
                  <a:pt x="1183" y="2654"/>
                </a:lnTo>
                <a:lnTo>
                  <a:pt x="1183" y="2581"/>
                </a:lnTo>
                <a:lnTo>
                  <a:pt x="1183" y="2505"/>
                </a:lnTo>
                <a:lnTo>
                  <a:pt x="1184" y="2428"/>
                </a:lnTo>
                <a:lnTo>
                  <a:pt x="1184" y="2350"/>
                </a:lnTo>
                <a:lnTo>
                  <a:pt x="1184" y="2269"/>
                </a:lnTo>
                <a:lnTo>
                  <a:pt x="1184" y="2189"/>
                </a:lnTo>
                <a:lnTo>
                  <a:pt x="1184" y="2109"/>
                </a:lnTo>
                <a:lnTo>
                  <a:pt x="1184" y="2028"/>
                </a:lnTo>
                <a:lnTo>
                  <a:pt x="1185" y="1949"/>
                </a:lnTo>
                <a:lnTo>
                  <a:pt x="1185" y="1870"/>
                </a:lnTo>
                <a:lnTo>
                  <a:pt x="1185" y="1792"/>
                </a:lnTo>
                <a:lnTo>
                  <a:pt x="1185" y="1716"/>
                </a:lnTo>
                <a:lnTo>
                  <a:pt x="1185" y="1642"/>
                </a:lnTo>
                <a:lnTo>
                  <a:pt x="1185" y="1571"/>
                </a:lnTo>
                <a:lnTo>
                  <a:pt x="1185" y="1503"/>
                </a:lnTo>
                <a:lnTo>
                  <a:pt x="1184" y="1437"/>
                </a:lnTo>
                <a:lnTo>
                  <a:pt x="1184" y="1375"/>
                </a:lnTo>
                <a:lnTo>
                  <a:pt x="1184" y="1318"/>
                </a:lnTo>
                <a:lnTo>
                  <a:pt x="1184" y="1264"/>
                </a:lnTo>
                <a:lnTo>
                  <a:pt x="1183" y="1216"/>
                </a:lnTo>
                <a:lnTo>
                  <a:pt x="1183" y="1172"/>
                </a:lnTo>
                <a:lnTo>
                  <a:pt x="1182" y="1134"/>
                </a:lnTo>
                <a:lnTo>
                  <a:pt x="1182" y="1102"/>
                </a:lnTo>
                <a:lnTo>
                  <a:pt x="1181" y="1076"/>
                </a:lnTo>
                <a:lnTo>
                  <a:pt x="1180" y="1057"/>
                </a:lnTo>
                <a:lnTo>
                  <a:pt x="1913" y="1057"/>
                </a:lnTo>
                <a:lnTo>
                  <a:pt x="1913" y="1367"/>
                </a:lnTo>
                <a:lnTo>
                  <a:pt x="1911" y="1371"/>
                </a:lnTo>
                <a:lnTo>
                  <a:pt x="1908" y="1374"/>
                </a:lnTo>
                <a:lnTo>
                  <a:pt x="1913" y="1374"/>
                </a:lnTo>
                <a:lnTo>
                  <a:pt x="1913" y="1367"/>
                </a:lnTo>
                <a:lnTo>
                  <a:pt x="1930" y="1342"/>
                </a:lnTo>
                <a:lnTo>
                  <a:pt x="1948" y="1315"/>
                </a:lnTo>
                <a:lnTo>
                  <a:pt x="1969" y="1289"/>
                </a:lnTo>
                <a:lnTo>
                  <a:pt x="1991" y="1262"/>
                </a:lnTo>
                <a:lnTo>
                  <a:pt x="2014" y="1234"/>
                </a:lnTo>
                <a:lnTo>
                  <a:pt x="2041" y="1207"/>
                </a:lnTo>
                <a:lnTo>
                  <a:pt x="2069" y="1181"/>
                </a:lnTo>
                <a:lnTo>
                  <a:pt x="2100" y="1155"/>
                </a:lnTo>
                <a:lnTo>
                  <a:pt x="2133" y="1130"/>
                </a:lnTo>
                <a:lnTo>
                  <a:pt x="2170" y="1107"/>
                </a:lnTo>
                <a:lnTo>
                  <a:pt x="2209" y="1086"/>
                </a:lnTo>
                <a:lnTo>
                  <a:pt x="2250" y="1066"/>
                </a:lnTo>
                <a:lnTo>
                  <a:pt x="2296" y="1049"/>
                </a:lnTo>
                <a:lnTo>
                  <a:pt x="2344" y="1033"/>
                </a:lnTo>
                <a:lnTo>
                  <a:pt x="2395" y="1022"/>
                </a:lnTo>
                <a:lnTo>
                  <a:pt x="2451" y="1013"/>
                </a:lnTo>
                <a:lnTo>
                  <a:pt x="2510" y="1008"/>
                </a:lnTo>
                <a:lnTo>
                  <a:pt x="2573" y="1005"/>
                </a:lnTo>
                <a:close/>
                <a:moveTo>
                  <a:pt x="414" y="0"/>
                </a:moveTo>
                <a:lnTo>
                  <a:pt x="467" y="2"/>
                </a:lnTo>
                <a:lnTo>
                  <a:pt x="516" y="10"/>
                </a:lnTo>
                <a:lnTo>
                  <a:pt x="562" y="22"/>
                </a:lnTo>
                <a:lnTo>
                  <a:pt x="605" y="37"/>
                </a:lnTo>
                <a:lnTo>
                  <a:pt x="644" y="58"/>
                </a:lnTo>
                <a:lnTo>
                  <a:pt x="679" y="82"/>
                </a:lnTo>
                <a:lnTo>
                  <a:pt x="711" y="109"/>
                </a:lnTo>
                <a:lnTo>
                  <a:pt x="739" y="139"/>
                </a:lnTo>
                <a:lnTo>
                  <a:pt x="764" y="173"/>
                </a:lnTo>
                <a:lnTo>
                  <a:pt x="785" y="209"/>
                </a:lnTo>
                <a:lnTo>
                  <a:pt x="800" y="248"/>
                </a:lnTo>
                <a:lnTo>
                  <a:pt x="813" y="290"/>
                </a:lnTo>
                <a:lnTo>
                  <a:pt x="821" y="334"/>
                </a:lnTo>
                <a:lnTo>
                  <a:pt x="824" y="379"/>
                </a:lnTo>
                <a:lnTo>
                  <a:pt x="821" y="424"/>
                </a:lnTo>
                <a:lnTo>
                  <a:pt x="815" y="466"/>
                </a:lnTo>
                <a:lnTo>
                  <a:pt x="802" y="507"/>
                </a:lnTo>
                <a:lnTo>
                  <a:pt x="787" y="546"/>
                </a:lnTo>
                <a:lnTo>
                  <a:pt x="766" y="582"/>
                </a:lnTo>
                <a:lnTo>
                  <a:pt x="741" y="616"/>
                </a:lnTo>
                <a:lnTo>
                  <a:pt x="712" y="647"/>
                </a:lnTo>
                <a:lnTo>
                  <a:pt x="680" y="675"/>
                </a:lnTo>
                <a:lnTo>
                  <a:pt x="644" y="699"/>
                </a:lnTo>
                <a:lnTo>
                  <a:pt x="603" y="719"/>
                </a:lnTo>
                <a:lnTo>
                  <a:pt x="560" y="736"/>
                </a:lnTo>
                <a:lnTo>
                  <a:pt x="513" y="748"/>
                </a:lnTo>
                <a:lnTo>
                  <a:pt x="463" y="755"/>
                </a:lnTo>
                <a:lnTo>
                  <a:pt x="410" y="757"/>
                </a:lnTo>
                <a:lnTo>
                  <a:pt x="405" y="757"/>
                </a:lnTo>
                <a:lnTo>
                  <a:pt x="353" y="755"/>
                </a:lnTo>
                <a:lnTo>
                  <a:pt x="305" y="748"/>
                </a:lnTo>
                <a:lnTo>
                  <a:pt x="260" y="736"/>
                </a:lnTo>
                <a:lnTo>
                  <a:pt x="217" y="719"/>
                </a:lnTo>
                <a:lnTo>
                  <a:pt x="178" y="699"/>
                </a:lnTo>
                <a:lnTo>
                  <a:pt x="143" y="675"/>
                </a:lnTo>
                <a:lnTo>
                  <a:pt x="111" y="647"/>
                </a:lnTo>
                <a:lnTo>
                  <a:pt x="82" y="616"/>
                </a:lnTo>
                <a:lnTo>
                  <a:pt x="58" y="582"/>
                </a:lnTo>
                <a:lnTo>
                  <a:pt x="37" y="546"/>
                </a:lnTo>
                <a:lnTo>
                  <a:pt x="21" y="507"/>
                </a:lnTo>
                <a:lnTo>
                  <a:pt x="9" y="466"/>
                </a:lnTo>
                <a:lnTo>
                  <a:pt x="2" y="424"/>
                </a:lnTo>
                <a:lnTo>
                  <a:pt x="0" y="379"/>
                </a:lnTo>
                <a:lnTo>
                  <a:pt x="2" y="334"/>
                </a:lnTo>
                <a:lnTo>
                  <a:pt x="9" y="290"/>
                </a:lnTo>
                <a:lnTo>
                  <a:pt x="22" y="248"/>
                </a:lnTo>
                <a:lnTo>
                  <a:pt x="38" y="209"/>
                </a:lnTo>
                <a:lnTo>
                  <a:pt x="59" y="173"/>
                </a:lnTo>
                <a:lnTo>
                  <a:pt x="84" y="139"/>
                </a:lnTo>
                <a:lnTo>
                  <a:pt x="113" y="109"/>
                </a:lnTo>
                <a:lnTo>
                  <a:pt x="146" y="82"/>
                </a:lnTo>
                <a:lnTo>
                  <a:pt x="182" y="58"/>
                </a:lnTo>
                <a:lnTo>
                  <a:pt x="223" y="37"/>
                </a:lnTo>
                <a:lnTo>
                  <a:pt x="266" y="22"/>
                </a:lnTo>
                <a:lnTo>
                  <a:pt x="313" y="10"/>
                </a:lnTo>
                <a:lnTo>
                  <a:pt x="362" y="2"/>
                </a:lnTo>
                <a:lnTo>
                  <a:pt x="414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10193867" y="5262957"/>
            <a:ext cx="144945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otio</a:t>
            </a: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/</a:t>
            </a:r>
            <a:r>
              <a:rPr lang="en-US" sz="16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inkedin</a:t>
            </a:r>
            <a:endParaRPr lang="en-US" sz="1600" dirty="0" smtClean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10193867" y="5781381"/>
            <a:ext cx="144945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otio</a:t>
            </a:r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/</a:t>
            </a:r>
            <a:r>
              <a:rPr lang="en-US" sz="16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facebook</a:t>
            </a:r>
            <a:endParaRPr lang="en-US" sz="1600" dirty="0" smtClean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0193867" y="6333672"/>
            <a:ext cx="1449455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6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#</a:t>
            </a:r>
            <a:r>
              <a:rPr lang="en-US" sz="16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Kotio</a:t>
            </a:r>
            <a:endParaRPr lang="en-US" sz="1600" dirty="0" smtClean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41" name="Rectangle 40"/>
          <p:cNvSpPr/>
          <p:nvPr/>
        </p:nvSpPr>
        <p:spPr>
          <a:xfrm rot="5400000">
            <a:off x="11779828" y="5705953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2" name="Rectangle 41"/>
          <p:cNvSpPr/>
          <p:nvPr/>
        </p:nvSpPr>
        <p:spPr>
          <a:xfrm rot="5400000">
            <a:off x="11779828" y="624756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3" name="Freeform 36">
            <a:hlinkClick r:id="rId8"/>
          </p:cNvPr>
          <p:cNvSpPr>
            <a:spLocks/>
          </p:cNvSpPr>
          <p:nvPr/>
        </p:nvSpPr>
        <p:spPr bwMode="auto">
          <a:xfrm>
            <a:off x="11833972" y="6344477"/>
            <a:ext cx="290803" cy="235976"/>
          </a:xfrm>
          <a:custGeom>
            <a:avLst/>
            <a:gdLst>
              <a:gd name="T0" fmla="*/ 3173 w 4343"/>
              <a:gd name="T1" fmla="*/ 16 h 3525"/>
              <a:gd name="T2" fmla="*/ 3404 w 4343"/>
              <a:gd name="T3" fmla="*/ 92 h 3525"/>
              <a:gd name="T4" fmla="*/ 3600 w 4343"/>
              <a:gd name="T5" fmla="*/ 227 h 3525"/>
              <a:gd name="T6" fmla="*/ 3856 w 4343"/>
              <a:gd name="T7" fmla="*/ 231 h 3525"/>
              <a:gd name="T8" fmla="*/ 4135 w 4343"/>
              <a:gd name="T9" fmla="*/ 113 h 3525"/>
              <a:gd name="T10" fmla="*/ 4160 w 4343"/>
              <a:gd name="T11" fmla="*/ 215 h 3525"/>
              <a:gd name="T12" fmla="*/ 4018 w 4343"/>
              <a:gd name="T13" fmla="*/ 408 h 3525"/>
              <a:gd name="T14" fmla="*/ 3831 w 4343"/>
              <a:gd name="T15" fmla="*/ 558 h 3525"/>
              <a:gd name="T16" fmla="*/ 4145 w 4343"/>
              <a:gd name="T17" fmla="*/ 491 h 3525"/>
              <a:gd name="T18" fmla="*/ 4280 w 4343"/>
              <a:gd name="T19" fmla="*/ 504 h 3525"/>
              <a:gd name="T20" fmla="*/ 4064 w 4343"/>
              <a:gd name="T21" fmla="*/ 742 h 3525"/>
              <a:gd name="T22" fmla="*/ 3900 w 4343"/>
              <a:gd name="T23" fmla="*/ 994 h 3525"/>
              <a:gd name="T24" fmla="*/ 3881 w 4343"/>
              <a:gd name="T25" fmla="*/ 1299 h 3525"/>
              <a:gd name="T26" fmla="*/ 3823 w 4343"/>
              <a:gd name="T27" fmla="*/ 1607 h 3525"/>
              <a:gd name="T28" fmla="*/ 3725 w 4343"/>
              <a:gd name="T29" fmla="*/ 1910 h 3525"/>
              <a:gd name="T30" fmla="*/ 3591 w 4343"/>
              <a:gd name="T31" fmla="*/ 2204 h 3525"/>
              <a:gd name="T32" fmla="*/ 3420 w 4343"/>
              <a:gd name="T33" fmla="*/ 2483 h 3525"/>
              <a:gd name="T34" fmla="*/ 3210 w 4343"/>
              <a:gd name="T35" fmla="*/ 2741 h 3525"/>
              <a:gd name="T36" fmla="*/ 2966 w 4343"/>
              <a:gd name="T37" fmla="*/ 2973 h 3525"/>
              <a:gd name="T38" fmla="*/ 2686 w 4343"/>
              <a:gd name="T39" fmla="*/ 3172 h 3525"/>
              <a:gd name="T40" fmla="*/ 2371 w 4343"/>
              <a:gd name="T41" fmla="*/ 3331 h 3525"/>
              <a:gd name="T42" fmla="*/ 2022 w 4343"/>
              <a:gd name="T43" fmla="*/ 3447 h 3525"/>
              <a:gd name="T44" fmla="*/ 1640 w 4343"/>
              <a:gd name="T45" fmla="*/ 3512 h 3525"/>
              <a:gd name="T46" fmla="*/ 1229 w 4343"/>
              <a:gd name="T47" fmla="*/ 3522 h 3525"/>
              <a:gd name="T48" fmla="*/ 833 w 4343"/>
              <a:gd name="T49" fmla="*/ 3469 h 3525"/>
              <a:gd name="T50" fmla="*/ 457 w 4343"/>
              <a:gd name="T51" fmla="*/ 3357 h 3525"/>
              <a:gd name="T52" fmla="*/ 109 w 4343"/>
              <a:gd name="T53" fmla="*/ 3193 h 3525"/>
              <a:gd name="T54" fmla="*/ 212 w 4343"/>
              <a:gd name="T55" fmla="*/ 3139 h 3525"/>
              <a:gd name="T56" fmla="*/ 545 w 4343"/>
              <a:gd name="T57" fmla="*/ 3107 h 3525"/>
              <a:gd name="T58" fmla="*/ 859 w 4343"/>
              <a:gd name="T59" fmla="*/ 3019 h 3525"/>
              <a:gd name="T60" fmla="*/ 1145 w 4343"/>
              <a:gd name="T61" fmla="*/ 2878 h 3525"/>
              <a:gd name="T62" fmla="*/ 1237 w 4343"/>
              <a:gd name="T63" fmla="*/ 2752 h 3525"/>
              <a:gd name="T64" fmla="*/ 1004 w 4343"/>
              <a:gd name="T65" fmla="*/ 2694 h 3525"/>
              <a:gd name="T66" fmla="*/ 800 w 4343"/>
              <a:gd name="T67" fmla="*/ 2578 h 3525"/>
              <a:gd name="T68" fmla="*/ 634 w 4343"/>
              <a:gd name="T69" fmla="*/ 2415 h 3525"/>
              <a:gd name="T70" fmla="*/ 514 w 4343"/>
              <a:gd name="T71" fmla="*/ 2214 h 3525"/>
              <a:gd name="T72" fmla="*/ 598 w 4343"/>
              <a:gd name="T73" fmla="*/ 2153 h 3525"/>
              <a:gd name="T74" fmla="*/ 813 w 4343"/>
              <a:gd name="T75" fmla="*/ 2141 h 3525"/>
              <a:gd name="T76" fmla="*/ 732 w 4343"/>
              <a:gd name="T77" fmla="*/ 2077 h 3525"/>
              <a:gd name="T78" fmla="*/ 523 w 4343"/>
              <a:gd name="T79" fmla="*/ 1957 h 3525"/>
              <a:gd name="T80" fmla="*/ 354 w 4343"/>
              <a:gd name="T81" fmla="*/ 1787 h 3525"/>
              <a:gd name="T82" fmla="*/ 236 w 4343"/>
              <a:gd name="T83" fmla="*/ 1577 h 3525"/>
              <a:gd name="T84" fmla="*/ 178 w 4343"/>
              <a:gd name="T85" fmla="*/ 1336 h 3525"/>
              <a:gd name="T86" fmla="*/ 236 w 4343"/>
              <a:gd name="T87" fmla="*/ 1271 h 3525"/>
              <a:gd name="T88" fmla="*/ 435 w 4343"/>
              <a:gd name="T89" fmla="*/ 1335 h 3525"/>
              <a:gd name="T90" fmla="*/ 515 w 4343"/>
              <a:gd name="T91" fmla="*/ 1306 h 3525"/>
              <a:gd name="T92" fmla="*/ 353 w 4343"/>
              <a:gd name="T93" fmla="*/ 1136 h 3525"/>
              <a:gd name="T94" fmla="*/ 241 w 4343"/>
              <a:gd name="T95" fmla="*/ 929 h 3525"/>
              <a:gd name="T96" fmla="*/ 186 w 4343"/>
              <a:gd name="T97" fmla="*/ 694 h 3525"/>
              <a:gd name="T98" fmla="*/ 196 w 4343"/>
              <a:gd name="T99" fmla="*/ 452 h 3525"/>
              <a:gd name="T100" fmla="*/ 267 w 4343"/>
              <a:gd name="T101" fmla="*/ 231 h 3525"/>
              <a:gd name="T102" fmla="*/ 477 w 4343"/>
              <a:gd name="T103" fmla="*/ 356 h 3525"/>
              <a:gd name="T104" fmla="*/ 773 w 4343"/>
              <a:gd name="T105" fmla="*/ 610 h 3525"/>
              <a:gd name="T106" fmla="*/ 1108 w 4343"/>
              <a:gd name="T107" fmla="*/ 816 h 3525"/>
              <a:gd name="T108" fmla="*/ 1473 w 4343"/>
              <a:gd name="T109" fmla="*/ 969 h 3525"/>
              <a:gd name="T110" fmla="*/ 1865 w 4343"/>
              <a:gd name="T111" fmla="*/ 1065 h 3525"/>
              <a:gd name="T112" fmla="*/ 2126 w 4343"/>
              <a:gd name="T113" fmla="*/ 1027 h 3525"/>
              <a:gd name="T114" fmla="*/ 2119 w 4343"/>
              <a:gd name="T115" fmla="*/ 804 h 3525"/>
              <a:gd name="T116" fmla="*/ 2177 w 4343"/>
              <a:gd name="T117" fmla="*/ 562 h 3525"/>
              <a:gd name="T118" fmla="*/ 2297 w 4343"/>
              <a:gd name="T119" fmla="*/ 352 h 3525"/>
              <a:gd name="T120" fmla="*/ 2467 w 4343"/>
              <a:gd name="T121" fmla="*/ 182 h 3525"/>
              <a:gd name="T122" fmla="*/ 2679 w 4343"/>
              <a:gd name="T123" fmla="*/ 62 h 3525"/>
              <a:gd name="T124" fmla="*/ 2920 w 4343"/>
              <a:gd name="T125" fmla="*/ 4 h 3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43" h="3525">
                <a:moveTo>
                  <a:pt x="3006" y="0"/>
                </a:moveTo>
                <a:lnTo>
                  <a:pt x="3092" y="4"/>
                </a:lnTo>
                <a:lnTo>
                  <a:pt x="3173" y="16"/>
                </a:lnTo>
                <a:lnTo>
                  <a:pt x="3254" y="35"/>
                </a:lnTo>
                <a:lnTo>
                  <a:pt x="3330" y="61"/>
                </a:lnTo>
                <a:lnTo>
                  <a:pt x="3404" y="92"/>
                </a:lnTo>
                <a:lnTo>
                  <a:pt x="3474" y="132"/>
                </a:lnTo>
                <a:lnTo>
                  <a:pt x="3540" y="175"/>
                </a:lnTo>
                <a:lnTo>
                  <a:pt x="3600" y="227"/>
                </a:lnTo>
                <a:lnTo>
                  <a:pt x="3657" y="281"/>
                </a:lnTo>
                <a:lnTo>
                  <a:pt x="3757" y="258"/>
                </a:lnTo>
                <a:lnTo>
                  <a:pt x="3856" y="231"/>
                </a:lnTo>
                <a:lnTo>
                  <a:pt x="3952" y="196"/>
                </a:lnTo>
                <a:lnTo>
                  <a:pt x="4045" y="158"/>
                </a:lnTo>
                <a:lnTo>
                  <a:pt x="4135" y="113"/>
                </a:lnTo>
                <a:lnTo>
                  <a:pt x="4223" y="65"/>
                </a:lnTo>
                <a:lnTo>
                  <a:pt x="4194" y="141"/>
                </a:lnTo>
                <a:lnTo>
                  <a:pt x="4160" y="215"/>
                </a:lnTo>
                <a:lnTo>
                  <a:pt x="4118" y="283"/>
                </a:lnTo>
                <a:lnTo>
                  <a:pt x="4070" y="348"/>
                </a:lnTo>
                <a:lnTo>
                  <a:pt x="4018" y="408"/>
                </a:lnTo>
                <a:lnTo>
                  <a:pt x="3961" y="463"/>
                </a:lnTo>
                <a:lnTo>
                  <a:pt x="3898" y="513"/>
                </a:lnTo>
                <a:lnTo>
                  <a:pt x="3831" y="558"/>
                </a:lnTo>
                <a:lnTo>
                  <a:pt x="3939" y="541"/>
                </a:lnTo>
                <a:lnTo>
                  <a:pt x="4043" y="519"/>
                </a:lnTo>
                <a:lnTo>
                  <a:pt x="4145" y="491"/>
                </a:lnTo>
                <a:lnTo>
                  <a:pt x="4246" y="457"/>
                </a:lnTo>
                <a:lnTo>
                  <a:pt x="4343" y="417"/>
                </a:lnTo>
                <a:lnTo>
                  <a:pt x="4280" y="504"/>
                </a:lnTo>
                <a:lnTo>
                  <a:pt x="4213" y="589"/>
                </a:lnTo>
                <a:lnTo>
                  <a:pt x="4142" y="667"/>
                </a:lnTo>
                <a:lnTo>
                  <a:pt x="4064" y="742"/>
                </a:lnTo>
                <a:lnTo>
                  <a:pt x="3983" y="814"/>
                </a:lnTo>
                <a:lnTo>
                  <a:pt x="3898" y="878"/>
                </a:lnTo>
                <a:lnTo>
                  <a:pt x="3900" y="994"/>
                </a:lnTo>
                <a:lnTo>
                  <a:pt x="3899" y="1095"/>
                </a:lnTo>
                <a:lnTo>
                  <a:pt x="3893" y="1196"/>
                </a:lnTo>
                <a:lnTo>
                  <a:pt x="3881" y="1299"/>
                </a:lnTo>
                <a:lnTo>
                  <a:pt x="3866" y="1402"/>
                </a:lnTo>
                <a:lnTo>
                  <a:pt x="3846" y="1504"/>
                </a:lnTo>
                <a:lnTo>
                  <a:pt x="3823" y="1607"/>
                </a:lnTo>
                <a:lnTo>
                  <a:pt x="3795" y="1708"/>
                </a:lnTo>
                <a:lnTo>
                  <a:pt x="3762" y="1810"/>
                </a:lnTo>
                <a:lnTo>
                  <a:pt x="3725" y="1910"/>
                </a:lnTo>
                <a:lnTo>
                  <a:pt x="3684" y="2010"/>
                </a:lnTo>
                <a:lnTo>
                  <a:pt x="3640" y="2108"/>
                </a:lnTo>
                <a:lnTo>
                  <a:pt x="3591" y="2204"/>
                </a:lnTo>
                <a:lnTo>
                  <a:pt x="3538" y="2299"/>
                </a:lnTo>
                <a:lnTo>
                  <a:pt x="3480" y="2393"/>
                </a:lnTo>
                <a:lnTo>
                  <a:pt x="3420" y="2483"/>
                </a:lnTo>
                <a:lnTo>
                  <a:pt x="3354" y="2573"/>
                </a:lnTo>
                <a:lnTo>
                  <a:pt x="3284" y="2658"/>
                </a:lnTo>
                <a:lnTo>
                  <a:pt x="3210" y="2741"/>
                </a:lnTo>
                <a:lnTo>
                  <a:pt x="3132" y="2821"/>
                </a:lnTo>
                <a:lnTo>
                  <a:pt x="3052" y="2899"/>
                </a:lnTo>
                <a:lnTo>
                  <a:pt x="2966" y="2973"/>
                </a:lnTo>
                <a:lnTo>
                  <a:pt x="2877" y="3043"/>
                </a:lnTo>
                <a:lnTo>
                  <a:pt x="2783" y="3110"/>
                </a:lnTo>
                <a:lnTo>
                  <a:pt x="2686" y="3172"/>
                </a:lnTo>
                <a:lnTo>
                  <a:pt x="2584" y="3229"/>
                </a:lnTo>
                <a:lnTo>
                  <a:pt x="2480" y="3282"/>
                </a:lnTo>
                <a:lnTo>
                  <a:pt x="2371" y="3331"/>
                </a:lnTo>
                <a:lnTo>
                  <a:pt x="2259" y="3375"/>
                </a:lnTo>
                <a:lnTo>
                  <a:pt x="2142" y="3414"/>
                </a:lnTo>
                <a:lnTo>
                  <a:pt x="2022" y="3447"/>
                </a:lnTo>
                <a:lnTo>
                  <a:pt x="1898" y="3474"/>
                </a:lnTo>
                <a:lnTo>
                  <a:pt x="1770" y="3497"/>
                </a:lnTo>
                <a:lnTo>
                  <a:pt x="1640" y="3512"/>
                </a:lnTo>
                <a:lnTo>
                  <a:pt x="1504" y="3523"/>
                </a:lnTo>
                <a:lnTo>
                  <a:pt x="1366" y="3525"/>
                </a:lnTo>
                <a:lnTo>
                  <a:pt x="1229" y="3522"/>
                </a:lnTo>
                <a:lnTo>
                  <a:pt x="1095" y="3511"/>
                </a:lnTo>
                <a:lnTo>
                  <a:pt x="963" y="3494"/>
                </a:lnTo>
                <a:lnTo>
                  <a:pt x="833" y="3469"/>
                </a:lnTo>
                <a:lnTo>
                  <a:pt x="705" y="3439"/>
                </a:lnTo>
                <a:lnTo>
                  <a:pt x="580" y="3400"/>
                </a:lnTo>
                <a:lnTo>
                  <a:pt x="457" y="3357"/>
                </a:lnTo>
                <a:lnTo>
                  <a:pt x="339" y="3308"/>
                </a:lnTo>
                <a:lnTo>
                  <a:pt x="223" y="3253"/>
                </a:lnTo>
                <a:lnTo>
                  <a:pt x="109" y="3193"/>
                </a:lnTo>
                <a:lnTo>
                  <a:pt x="0" y="3125"/>
                </a:lnTo>
                <a:lnTo>
                  <a:pt x="105" y="3135"/>
                </a:lnTo>
                <a:lnTo>
                  <a:pt x="212" y="3139"/>
                </a:lnTo>
                <a:lnTo>
                  <a:pt x="325" y="3135"/>
                </a:lnTo>
                <a:lnTo>
                  <a:pt x="436" y="3124"/>
                </a:lnTo>
                <a:lnTo>
                  <a:pt x="545" y="3107"/>
                </a:lnTo>
                <a:lnTo>
                  <a:pt x="652" y="3083"/>
                </a:lnTo>
                <a:lnTo>
                  <a:pt x="757" y="3054"/>
                </a:lnTo>
                <a:lnTo>
                  <a:pt x="859" y="3019"/>
                </a:lnTo>
                <a:lnTo>
                  <a:pt x="958" y="2977"/>
                </a:lnTo>
                <a:lnTo>
                  <a:pt x="1053" y="2929"/>
                </a:lnTo>
                <a:lnTo>
                  <a:pt x="1145" y="2878"/>
                </a:lnTo>
                <a:lnTo>
                  <a:pt x="1234" y="2820"/>
                </a:lnTo>
                <a:lnTo>
                  <a:pt x="1319" y="2757"/>
                </a:lnTo>
                <a:lnTo>
                  <a:pt x="1237" y="2752"/>
                </a:lnTo>
                <a:lnTo>
                  <a:pt x="1157" y="2739"/>
                </a:lnTo>
                <a:lnTo>
                  <a:pt x="1079" y="2720"/>
                </a:lnTo>
                <a:lnTo>
                  <a:pt x="1004" y="2694"/>
                </a:lnTo>
                <a:lnTo>
                  <a:pt x="931" y="2661"/>
                </a:lnTo>
                <a:lnTo>
                  <a:pt x="864" y="2623"/>
                </a:lnTo>
                <a:lnTo>
                  <a:pt x="800" y="2578"/>
                </a:lnTo>
                <a:lnTo>
                  <a:pt x="739" y="2528"/>
                </a:lnTo>
                <a:lnTo>
                  <a:pt x="684" y="2474"/>
                </a:lnTo>
                <a:lnTo>
                  <a:pt x="634" y="2415"/>
                </a:lnTo>
                <a:lnTo>
                  <a:pt x="588" y="2352"/>
                </a:lnTo>
                <a:lnTo>
                  <a:pt x="548" y="2285"/>
                </a:lnTo>
                <a:lnTo>
                  <a:pt x="514" y="2214"/>
                </a:lnTo>
                <a:lnTo>
                  <a:pt x="487" y="2139"/>
                </a:lnTo>
                <a:lnTo>
                  <a:pt x="541" y="2148"/>
                </a:lnTo>
                <a:lnTo>
                  <a:pt x="598" y="2153"/>
                </a:lnTo>
                <a:lnTo>
                  <a:pt x="655" y="2156"/>
                </a:lnTo>
                <a:lnTo>
                  <a:pt x="735" y="2152"/>
                </a:lnTo>
                <a:lnTo>
                  <a:pt x="813" y="2141"/>
                </a:lnTo>
                <a:lnTo>
                  <a:pt x="889" y="2124"/>
                </a:lnTo>
                <a:lnTo>
                  <a:pt x="809" y="2104"/>
                </a:lnTo>
                <a:lnTo>
                  <a:pt x="732" y="2077"/>
                </a:lnTo>
                <a:lnTo>
                  <a:pt x="659" y="2043"/>
                </a:lnTo>
                <a:lnTo>
                  <a:pt x="589" y="2003"/>
                </a:lnTo>
                <a:lnTo>
                  <a:pt x="523" y="1957"/>
                </a:lnTo>
                <a:lnTo>
                  <a:pt x="461" y="1906"/>
                </a:lnTo>
                <a:lnTo>
                  <a:pt x="406" y="1849"/>
                </a:lnTo>
                <a:lnTo>
                  <a:pt x="354" y="1787"/>
                </a:lnTo>
                <a:lnTo>
                  <a:pt x="308" y="1721"/>
                </a:lnTo>
                <a:lnTo>
                  <a:pt x="269" y="1650"/>
                </a:lnTo>
                <a:lnTo>
                  <a:pt x="236" y="1577"/>
                </a:lnTo>
                <a:lnTo>
                  <a:pt x="209" y="1499"/>
                </a:lnTo>
                <a:lnTo>
                  <a:pt x="190" y="1419"/>
                </a:lnTo>
                <a:lnTo>
                  <a:pt x="178" y="1336"/>
                </a:lnTo>
                <a:lnTo>
                  <a:pt x="174" y="1252"/>
                </a:lnTo>
                <a:lnTo>
                  <a:pt x="174" y="1240"/>
                </a:lnTo>
                <a:lnTo>
                  <a:pt x="236" y="1271"/>
                </a:lnTo>
                <a:lnTo>
                  <a:pt x="300" y="1298"/>
                </a:lnTo>
                <a:lnTo>
                  <a:pt x="366" y="1319"/>
                </a:lnTo>
                <a:lnTo>
                  <a:pt x="435" y="1335"/>
                </a:lnTo>
                <a:lnTo>
                  <a:pt x="506" y="1346"/>
                </a:lnTo>
                <a:lnTo>
                  <a:pt x="578" y="1352"/>
                </a:lnTo>
                <a:lnTo>
                  <a:pt x="515" y="1306"/>
                </a:lnTo>
                <a:lnTo>
                  <a:pt x="456" y="1253"/>
                </a:lnTo>
                <a:lnTo>
                  <a:pt x="402" y="1198"/>
                </a:lnTo>
                <a:lnTo>
                  <a:pt x="353" y="1136"/>
                </a:lnTo>
                <a:lnTo>
                  <a:pt x="310" y="1071"/>
                </a:lnTo>
                <a:lnTo>
                  <a:pt x="273" y="1002"/>
                </a:lnTo>
                <a:lnTo>
                  <a:pt x="241" y="929"/>
                </a:lnTo>
                <a:lnTo>
                  <a:pt x="215" y="853"/>
                </a:lnTo>
                <a:lnTo>
                  <a:pt x="196" y="775"/>
                </a:lnTo>
                <a:lnTo>
                  <a:pt x="186" y="694"/>
                </a:lnTo>
                <a:lnTo>
                  <a:pt x="182" y="611"/>
                </a:lnTo>
                <a:lnTo>
                  <a:pt x="186" y="529"/>
                </a:lnTo>
                <a:lnTo>
                  <a:pt x="196" y="452"/>
                </a:lnTo>
                <a:lnTo>
                  <a:pt x="213" y="375"/>
                </a:lnTo>
                <a:lnTo>
                  <a:pt x="237" y="302"/>
                </a:lnTo>
                <a:lnTo>
                  <a:pt x="267" y="231"/>
                </a:lnTo>
                <a:lnTo>
                  <a:pt x="303" y="163"/>
                </a:lnTo>
                <a:lnTo>
                  <a:pt x="387" y="262"/>
                </a:lnTo>
                <a:lnTo>
                  <a:pt x="477" y="356"/>
                </a:lnTo>
                <a:lnTo>
                  <a:pt x="572" y="445"/>
                </a:lnTo>
                <a:lnTo>
                  <a:pt x="670" y="531"/>
                </a:lnTo>
                <a:lnTo>
                  <a:pt x="773" y="610"/>
                </a:lnTo>
                <a:lnTo>
                  <a:pt x="881" y="685"/>
                </a:lnTo>
                <a:lnTo>
                  <a:pt x="993" y="753"/>
                </a:lnTo>
                <a:lnTo>
                  <a:pt x="1108" y="816"/>
                </a:lnTo>
                <a:lnTo>
                  <a:pt x="1226" y="873"/>
                </a:lnTo>
                <a:lnTo>
                  <a:pt x="1348" y="924"/>
                </a:lnTo>
                <a:lnTo>
                  <a:pt x="1473" y="969"/>
                </a:lnTo>
                <a:lnTo>
                  <a:pt x="1602" y="1008"/>
                </a:lnTo>
                <a:lnTo>
                  <a:pt x="1732" y="1040"/>
                </a:lnTo>
                <a:lnTo>
                  <a:pt x="1865" y="1065"/>
                </a:lnTo>
                <a:lnTo>
                  <a:pt x="2001" y="1082"/>
                </a:lnTo>
                <a:lnTo>
                  <a:pt x="2139" y="1092"/>
                </a:lnTo>
                <a:lnTo>
                  <a:pt x="2126" y="1027"/>
                </a:lnTo>
                <a:lnTo>
                  <a:pt x="2118" y="960"/>
                </a:lnTo>
                <a:lnTo>
                  <a:pt x="2116" y="890"/>
                </a:lnTo>
                <a:lnTo>
                  <a:pt x="2119" y="804"/>
                </a:lnTo>
                <a:lnTo>
                  <a:pt x="2131" y="721"/>
                </a:lnTo>
                <a:lnTo>
                  <a:pt x="2151" y="640"/>
                </a:lnTo>
                <a:lnTo>
                  <a:pt x="2177" y="562"/>
                </a:lnTo>
                <a:lnTo>
                  <a:pt x="2212" y="488"/>
                </a:lnTo>
                <a:lnTo>
                  <a:pt x="2251" y="417"/>
                </a:lnTo>
                <a:lnTo>
                  <a:pt x="2297" y="352"/>
                </a:lnTo>
                <a:lnTo>
                  <a:pt x="2349" y="290"/>
                </a:lnTo>
                <a:lnTo>
                  <a:pt x="2405" y="233"/>
                </a:lnTo>
                <a:lnTo>
                  <a:pt x="2467" y="182"/>
                </a:lnTo>
                <a:lnTo>
                  <a:pt x="2534" y="136"/>
                </a:lnTo>
                <a:lnTo>
                  <a:pt x="2604" y="96"/>
                </a:lnTo>
                <a:lnTo>
                  <a:pt x="2679" y="62"/>
                </a:lnTo>
                <a:lnTo>
                  <a:pt x="2757" y="36"/>
                </a:lnTo>
                <a:lnTo>
                  <a:pt x="2837" y="16"/>
                </a:lnTo>
                <a:lnTo>
                  <a:pt x="2920" y="4"/>
                </a:lnTo>
                <a:lnTo>
                  <a:pt x="3006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sp>
        <p:nvSpPr>
          <p:cNvPr id="35" name="Freeform 54"/>
          <p:cNvSpPr>
            <a:spLocks/>
          </p:cNvSpPr>
          <p:nvPr/>
        </p:nvSpPr>
        <p:spPr bwMode="auto">
          <a:xfrm>
            <a:off x="11911080" y="5785985"/>
            <a:ext cx="136587" cy="252256"/>
          </a:xfrm>
          <a:custGeom>
            <a:avLst/>
            <a:gdLst>
              <a:gd name="T0" fmla="*/ 1921 w 1996"/>
              <a:gd name="T1" fmla="*/ 1 h 3691"/>
              <a:gd name="T2" fmla="*/ 1959 w 1996"/>
              <a:gd name="T3" fmla="*/ 11 h 3691"/>
              <a:gd name="T4" fmla="*/ 1985 w 1996"/>
              <a:gd name="T5" fmla="*/ 38 h 3691"/>
              <a:gd name="T6" fmla="*/ 1996 w 1996"/>
              <a:gd name="T7" fmla="*/ 76 h 3691"/>
              <a:gd name="T8" fmla="*/ 1993 w 1996"/>
              <a:gd name="T9" fmla="*/ 660 h 3691"/>
              <a:gd name="T10" fmla="*/ 1974 w 1996"/>
              <a:gd name="T11" fmla="*/ 693 h 3691"/>
              <a:gd name="T12" fmla="*/ 1941 w 1996"/>
              <a:gd name="T13" fmla="*/ 712 h 3691"/>
              <a:gd name="T14" fmla="*/ 1598 w 1996"/>
              <a:gd name="T15" fmla="*/ 714 h 3691"/>
              <a:gd name="T16" fmla="*/ 1513 w 1996"/>
              <a:gd name="T17" fmla="*/ 720 h 3691"/>
              <a:gd name="T18" fmla="*/ 1448 w 1996"/>
              <a:gd name="T19" fmla="*/ 736 h 3691"/>
              <a:gd name="T20" fmla="*/ 1401 w 1996"/>
              <a:gd name="T21" fmla="*/ 762 h 3691"/>
              <a:gd name="T22" fmla="*/ 1369 w 1996"/>
              <a:gd name="T23" fmla="*/ 799 h 3691"/>
              <a:gd name="T24" fmla="*/ 1349 w 1996"/>
              <a:gd name="T25" fmla="*/ 846 h 3691"/>
              <a:gd name="T26" fmla="*/ 1338 w 1996"/>
              <a:gd name="T27" fmla="*/ 904 h 3691"/>
              <a:gd name="T28" fmla="*/ 1335 w 1996"/>
              <a:gd name="T29" fmla="*/ 972 h 3691"/>
              <a:gd name="T30" fmla="*/ 1898 w 1996"/>
              <a:gd name="T31" fmla="*/ 1327 h 3691"/>
              <a:gd name="T32" fmla="*/ 1937 w 1996"/>
              <a:gd name="T33" fmla="*/ 1337 h 3691"/>
              <a:gd name="T34" fmla="*/ 1964 w 1996"/>
              <a:gd name="T35" fmla="*/ 1364 h 3691"/>
              <a:gd name="T36" fmla="*/ 1974 w 1996"/>
              <a:gd name="T37" fmla="*/ 1402 h 3691"/>
              <a:gd name="T38" fmla="*/ 1971 w 1996"/>
              <a:gd name="T39" fmla="*/ 2029 h 3691"/>
              <a:gd name="T40" fmla="*/ 1951 w 1996"/>
              <a:gd name="T41" fmla="*/ 2062 h 3691"/>
              <a:gd name="T42" fmla="*/ 1918 w 1996"/>
              <a:gd name="T43" fmla="*/ 2081 h 3691"/>
              <a:gd name="T44" fmla="*/ 1335 w 1996"/>
              <a:gd name="T45" fmla="*/ 2085 h 3691"/>
              <a:gd name="T46" fmla="*/ 1333 w 1996"/>
              <a:gd name="T47" fmla="*/ 3636 h 3691"/>
              <a:gd name="T48" fmla="*/ 1313 w 1996"/>
              <a:gd name="T49" fmla="*/ 3669 h 3691"/>
              <a:gd name="T50" fmla="*/ 1279 w 1996"/>
              <a:gd name="T51" fmla="*/ 3688 h 3691"/>
              <a:gd name="T52" fmla="*/ 631 w 1996"/>
              <a:gd name="T53" fmla="*/ 3691 h 3691"/>
              <a:gd name="T54" fmla="*/ 594 w 1996"/>
              <a:gd name="T55" fmla="*/ 3681 h 3691"/>
              <a:gd name="T56" fmla="*/ 566 w 1996"/>
              <a:gd name="T57" fmla="*/ 3654 h 3691"/>
              <a:gd name="T58" fmla="*/ 556 w 1996"/>
              <a:gd name="T59" fmla="*/ 3615 h 3691"/>
              <a:gd name="T60" fmla="*/ 75 w 1996"/>
              <a:gd name="T61" fmla="*/ 2085 h 3691"/>
              <a:gd name="T62" fmla="*/ 36 w 1996"/>
              <a:gd name="T63" fmla="*/ 2075 h 3691"/>
              <a:gd name="T64" fmla="*/ 10 w 1996"/>
              <a:gd name="T65" fmla="*/ 2047 h 3691"/>
              <a:gd name="T66" fmla="*/ 0 w 1996"/>
              <a:gd name="T67" fmla="*/ 2009 h 3691"/>
              <a:gd name="T68" fmla="*/ 2 w 1996"/>
              <a:gd name="T69" fmla="*/ 1383 h 3691"/>
              <a:gd name="T70" fmla="*/ 22 w 1996"/>
              <a:gd name="T71" fmla="*/ 1350 h 3691"/>
              <a:gd name="T72" fmla="*/ 54 w 1996"/>
              <a:gd name="T73" fmla="*/ 1330 h 3691"/>
              <a:gd name="T74" fmla="*/ 556 w 1996"/>
              <a:gd name="T75" fmla="*/ 1327 h 3691"/>
              <a:gd name="T76" fmla="*/ 558 w 1996"/>
              <a:gd name="T77" fmla="*/ 827 h 3691"/>
              <a:gd name="T78" fmla="*/ 579 w 1996"/>
              <a:gd name="T79" fmla="*/ 673 h 3691"/>
              <a:gd name="T80" fmla="*/ 619 w 1996"/>
              <a:gd name="T81" fmla="*/ 534 h 3691"/>
              <a:gd name="T82" fmla="*/ 678 w 1996"/>
              <a:gd name="T83" fmla="*/ 408 h 3691"/>
              <a:gd name="T84" fmla="*/ 754 w 1996"/>
              <a:gd name="T85" fmla="*/ 297 h 3691"/>
              <a:gd name="T86" fmla="*/ 846 w 1996"/>
              <a:gd name="T87" fmla="*/ 201 h 3691"/>
              <a:gd name="T88" fmla="*/ 954 w 1996"/>
              <a:gd name="T89" fmla="*/ 124 h 3691"/>
              <a:gd name="T90" fmla="*/ 1077 w 1996"/>
              <a:gd name="T91" fmla="*/ 64 h 3691"/>
              <a:gd name="T92" fmla="*/ 1213 w 1996"/>
              <a:gd name="T93" fmla="*/ 23 h 3691"/>
              <a:gd name="T94" fmla="*/ 1363 w 1996"/>
              <a:gd name="T95" fmla="*/ 3 h 3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96" h="3691">
                <a:moveTo>
                  <a:pt x="1442" y="0"/>
                </a:moveTo>
                <a:lnTo>
                  <a:pt x="1921" y="1"/>
                </a:lnTo>
                <a:lnTo>
                  <a:pt x="1941" y="3"/>
                </a:lnTo>
                <a:lnTo>
                  <a:pt x="1959" y="11"/>
                </a:lnTo>
                <a:lnTo>
                  <a:pt x="1974" y="22"/>
                </a:lnTo>
                <a:lnTo>
                  <a:pt x="1985" y="38"/>
                </a:lnTo>
                <a:lnTo>
                  <a:pt x="1993" y="56"/>
                </a:lnTo>
                <a:lnTo>
                  <a:pt x="1996" y="76"/>
                </a:lnTo>
                <a:lnTo>
                  <a:pt x="1996" y="639"/>
                </a:lnTo>
                <a:lnTo>
                  <a:pt x="1993" y="660"/>
                </a:lnTo>
                <a:lnTo>
                  <a:pt x="1985" y="677"/>
                </a:lnTo>
                <a:lnTo>
                  <a:pt x="1974" y="693"/>
                </a:lnTo>
                <a:lnTo>
                  <a:pt x="1959" y="704"/>
                </a:lnTo>
                <a:lnTo>
                  <a:pt x="1941" y="712"/>
                </a:lnTo>
                <a:lnTo>
                  <a:pt x="1921" y="714"/>
                </a:lnTo>
                <a:lnTo>
                  <a:pt x="1598" y="714"/>
                </a:lnTo>
                <a:lnTo>
                  <a:pt x="1553" y="717"/>
                </a:lnTo>
                <a:lnTo>
                  <a:pt x="1513" y="720"/>
                </a:lnTo>
                <a:lnTo>
                  <a:pt x="1479" y="727"/>
                </a:lnTo>
                <a:lnTo>
                  <a:pt x="1448" y="736"/>
                </a:lnTo>
                <a:lnTo>
                  <a:pt x="1423" y="748"/>
                </a:lnTo>
                <a:lnTo>
                  <a:pt x="1401" y="762"/>
                </a:lnTo>
                <a:lnTo>
                  <a:pt x="1384" y="779"/>
                </a:lnTo>
                <a:lnTo>
                  <a:pt x="1369" y="799"/>
                </a:lnTo>
                <a:lnTo>
                  <a:pt x="1358" y="822"/>
                </a:lnTo>
                <a:lnTo>
                  <a:pt x="1349" y="846"/>
                </a:lnTo>
                <a:lnTo>
                  <a:pt x="1342" y="874"/>
                </a:lnTo>
                <a:lnTo>
                  <a:pt x="1338" y="904"/>
                </a:lnTo>
                <a:lnTo>
                  <a:pt x="1336" y="937"/>
                </a:lnTo>
                <a:lnTo>
                  <a:pt x="1335" y="972"/>
                </a:lnTo>
                <a:lnTo>
                  <a:pt x="1335" y="1327"/>
                </a:lnTo>
                <a:lnTo>
                  <a:pt x="1898" y="1327"/>
                </a:lnTo>
                <a:lnTo>
                  <a:pt x="1918" y="1329"/>
                </a:lnTo>
                <a:lnTo>
                  <a:pt x="1937" y="1337"/>
                </a:lnTo>
                <a:lnTo>
                  <a:pt x="1951" y="1350"/>
                </a:lnTo>
                <a:lnTo>
                  <a:pt x="1964" y="1364"/>
                </a:lnTo>
                <a:lnTo>
                  <a:pt x="1971" y="1383"/>
                </a:lnTo>
                <a:lnTo>
                  <a:pt x="1974" y="1402"/>
                </a:lnTo>
                <a:lnTo>
                  <a:pt x="1973" y="2009"/>
                </a:lnTo>
                <a:lnTo>
                  <a:pt x="1971" y="2029"/>
                </a:lnTo>
                <a:lnTo>
                  <a:pt x="1963" y="2047"/>
                </a:lnTo>
                <a:lnTo>
                  <a:pt x="1951" y="2062"/>
                </a:lnTo>
                <a:lnTo>
                  <a:pt x="1937" y="2075"/>
                </a:lnTo>
                <a:lnTo>
                  <a:pt x="1918" y="2081"/>
                </a:lnTo>
                <a:lnTo>
                  <a:pt x="1898" y="2085"/>
                </a:lnTo>
                <a:lnTo>
                  <a:pt x="1335" y="2085"/>
                </a:lnTo>
                <a:lnTo>
                  <a:pt x="1335" y="3615"/>
                </a:lnTo>
                <a:lnTo>
                  <a:pt x="1333" y="3636"/>
                </a:lnTo>
                <a:lnTo>
                  <a:pt x="1325" y="3654"/>
                </a:lnTo>
                <a:lnTo>
                  <a:pt x="1313" y="3669"/>
                </a:lnTo>
                <a:lnTo>
                  <a:pt x="1297" y="3681"/>
                </a:lnTo>
                <a:lnTo>
                  <a:pt x="1279" y="3688"/>
                </a:lnTo>
                <a:lnTo>
                  <a:pt x="1260" y="3691"/>
                </a:lnTo>
                <a:lnTo>
                  <a:pt x="631" y="3691"/>
                </a:lnTo>
                <a:lnTo>
                  <a:pt x="612" y="3688"/>
                </a:lnTo>
                <a:lnTo>
                  <a:pt x="594" y="3681"/>
                </a:lnTo>
                <a:lnTo>
                  <a:pt x="579" y="3669"/>
                </a:lnTo>
                <a:lnTo>
                  <a:pt x="566" y="3654"/>
                </a:lnTo>
                <a:lnTo>
                  <a:pt x="558" y="3636"/>
                </a:lnTo>
                <a:lnTo>
                  <a:pt x="556" y="3615"/>
                </a:lnTo>
                <a:lnTo>
                  <a:pt x="556" y="2085"/>
                </a:lnTo>
                <a:lnTo>
                  <a:pt x="75" y="2085"/>
                </a:lnTo>
                <a:lnTo>
                  <a:pt x="54" y="2081"/>
                </a:lnTo>
                <a:lnTo>
                  <a:pt x="36" y="2075"/>
                </a:lnTo>
                <a:lnTo>
                  <a:pt x="22" y="2062"/>
                </a:lnTo>
                <a:lnTo>
                  <a:pt x="10" y="2047"/>
                </a:lnTo>
                <a:lnTo>
                  <a:pt x="2" y="2029"/>
                </a:lnTo>
                <a:lnTo>
                  <a:pt x="0" y="2009"/>
                </a:lnTo>
                <a:lnTo>
                  <a:pt x="0" y="1402"/>
                </a:lnTo>
                <a:lnTo>
                  <a:pt x="2" y="1383"/>
                </a:lnTo>
                <a:lnTo>
                  <a:pt x="10" y="1364"/>
                </a:lnTo>
                <a:lnTo>
                  <a:pt x="22" y="1350"/>
                </a:lnTo>
                <a:lnTo>
                  <a:pt x="36" y="1337"/>
                </a:lnTo>
                <a:lnTo>
                  <a:pt x="54" y="1330"/>
                </a:lnTo>
                <a:lnTo>
                  <a:pt x="75" y="1327"/>
                </a:lnTo>
                <a:lnTo>
                  <a:pt x="556" y="1327"/>
                </a:lnTo>
                <a:lnTo>
                  <a:pt x="556" y="908"/>
                </a:lnTo>
                <a:lnTo>
                  <a:pt x="558" y="827"/>
                </a:lnTo>
                <a:lnTo>
                  <a:pt x="566" y="748"/>
                </a:lnTo>
                <a:lnTo>
                  <a:pt x="579" y="673"/>
                </a:lnTo>
                <a:lnTo>
                  <a:pt x="597" y="602"/>
                </a:lnTo>
                <a:lnTo>
                  <a:pt x="619" y="534"/>
                </a:lnTo>
                <a:lnTo>
                  <a:pt x="646" y="469"/>
                </a:lnTo>
                <a:lnTo>
                  <a:pt x="678" y="408"/>
                </a:lnTo>
                <a:lnTo>
                  <a:pt x="713" y="350"/>
                </a:lnTo>
                <a:lnTo>
                  <a:pt x="754" y="297"/>
                </a:lnTo>
                <a:lnTo>
                  <a:pt x="797" y="247"/>
                </a:lnTo>
                <a:lnTo>
                  <a:pt x="846" y="201"/>
                </a:lnTo>
                <a:lnTo>
                  <a:pt x="898" y="161"/>
                </a:lnTo>
                <a:lnTo>
                  <a:pt x="954" y="124"/>
                </a:lnTo>
                <a:lnTo>
                  <a:pt x="1014" y="91"/>
                </a:lnTo>
                <a:lnTo>
                  <a:pt x="1077" y="64"/>
                </a:lnTo>
                <a:lnTo>
                  <a:pt x="1143" y="42"/>
                </a:lnTo>
                <a:lnTo>
                  <a:pt x="1213" y="23"/>
                </a:lnTo>
                <a:lnTo>
                  <a:pt x="1286" y="11"/>
                </a:lnTo>
                <a:lnTo>
                  <a:pt x="1363" y="3"/>
                </a:lnTo>
                <a:lnTo>
                  <a:pt x="1442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4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168890" y="1453291"/>
            <a:ext cx="45290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>
            <a:off x="1446288" y="3792794"/>
            <a:ext cx="3087108" cy="1720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139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25674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581673" y="1343377"/>
            <a:ext cx="6953767" cy="5084646"/>
            <a:chOff x="2979926" y="-33603"/>
            <a:chExt cx="6221676" cy="4549336"/>
          </a:xfrm>
          <a:pattFill prst="ltUpDiag">
            <a:fgClr>
              <a:schemeClr val="bg1">
                <a:lumMod val="50000"/>
              </a:schemeClr>
            </a:fgClr>
            <a:bgClr>
              <a:schemeClr val="bg1"/>
            </a:bgClr>
          </a:pattFill>
        </p:grpSpPr>
        <p:sp>
          <p:nvSpPr>
            <p:cNvPr id="39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3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4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6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7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49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2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3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4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5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6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8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59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0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1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2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3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4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5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6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7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0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1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2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3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4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5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6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7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8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79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80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81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82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83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  <p:sp>
          <p:nvSpPr>
            <p:cNvPr id="84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19050" cap="rnd">
              <a:solidFill>
                <a:schemeClr val="bg1">
                  <a:lumMod val="9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Source Sans Pro" charset="0"/>
              </a:endParaRPr>
            </a:p>
          </p:txBody>
        </p:sp>
      </p:grp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91" r="32979"/>
          <a:stretch/>
        </p:blipFill>
        <p:spPr/>
      </p:pic>
      <p:sp>
        <p:nvSpPr>
          <p:cNvPr id="17" name="Content Placeholder 16"/>
          <p:cNvSpPr>
            <a:spLocks noGrp="1"/>
          </p:cNvSpPr>
          <p:nvPr>
            <p:ph sz="quarter" idx="4294967295"/>
          </p:nvPr>
        </p:nvSpPr>
        <p:spPr>
          <a:xfrm>
            <a:off x="301886" y="270109"/>
            <a:ext cx="6561138" cy="430213"/>
          </a:xfrm>
          <a:prstGeom prst="rect">
            <a:avLst/>
          </a:prstGeom>
        </p:spPr>
        <p:txBody>
          <a:bodyPr lIns="0" tIns="0" rIns="0" bIns="0"/>
          <a:lstStyle/>
          <a:p>
            <a:pPr marL="0" indent="0" defTabSz="848899">
              <a:lnSpc>
                <a:spcPct val="100000"/>
              </a:lnSpc>
              <a:spcBef>
                <a:spcPct val="0"/>
              </a:spcBef>
              <a:buNone/>
            </a:pPr>
            <a:r>
              <a:rPr lang="en-US" i="1" spc="-30" dirty="0" smtClean="0">
                <a:latin typeface="Source Sans Pro Light" panose="020B0403030403020204" pitchFamily="34" charset="-18"/>
                <a:ea typeface="+mj-ea"/>
                <a:cs typeface="+mj-cs"/>
              </a:rPr>
              <a:t>Location</a:t>
            </a:r>
            <a:endParaRPr lang="en-US" i="1" spc="-30" dirty="0">
              <a:latin typeface="Source Sans Pro Light" panose="020B0403030403020204" pitchFamily="34" charset="-18"/>
              <a:ea typeface="+mj-ea"/>
              <a:cs typeface="+mj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02135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344229" y="3909399"/>
            <a:ext cx="23513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err="1" smtClean="0">
                <a:solidFill>
                  <a:schemeClr val="tx1"/>
                </a:solidFill>
              </a:rPr>
              <a:t>Kotio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Content Placeholder 15"/>
          <p:cNvSpPr txBox="1">
            <a:spLocks/>
          </p:cNvSpPr>
          <p:nvPr/>
        </p:nvSpPr>
        <p:spPr>
          <a:xfrm>
            <a:off x="7344229" y="4939771"/>
            <a:ext cx="235131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smtClean="0"/>
              <a:t>Map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86" name="Group 85"/>
          <p:cNvGrpSpPr/>
          <p:nvPr/>
        </p:nvGrpSpPr>
        <p:grpSpPr>
          <a:xfrm>
            <a:off x="3662957" y="4001628"/>
            <a:ext cx="334818" cy="334818"/>
            <a:chOff x="4882960" y="3371850"/>
            <a:chExt cx="469900" cy="469900"/>
          </a:xfrm>
        </p:grpSpPr>
        <p:sp>
          <p:nvSpPr>
            <p:cNvPr id="87" name="Oval 86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Oval 88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203383" y="1370482"/>
            <a:ext cx="3207542" cy="315839"/>
            <a:chOff x="3374011" y="2881334"/>
            <a:chExt cx="3207542" cy="315839"/>
          </a:xfrm>
        </p:grpSpPr>
        <p:cxnSp>
          <p:nvCxnSpPr>
            <p:cNvPr id="102" name="Straight Connector 101"/>
            <p:cNvCxnSpPr/>
            <p:nvPr/>
          </p:nvCxnSpPr>
          <p:spPr>
            <a:xfrm>
              <a:off x="3465929" y="3197173"/>
              <a:ext cx="3115624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3465929" y="3197173"/>
              <a:ext cx="2709728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itle 1"/>
            <p:cNvSpPr txBox="1">
              <a:spLocks/>
            </p:cNvSpPr>
            <p:nvPr/>
          </p:nvSpPr>
          <p:spPr>
            <a:xfrm>
              <a:off x="3374011" y="2881334"/>
              <a:ext cx="1815329" cy="276642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pl-PL" sz="1400" dirty="0" err="1" smtClean="0">
                  <a:solidFill>
                    <a:schemeClr val="accent4"/>
                  </a:solidFill>
                  <a:latin typeface="+mn-lt"/>
                  <a:ea typeface="Bebas Neue" charset="0"/>
                  <a:cs typeface="Bebas Neue" charset="0"/>
                </a:rPr>
                <a:t>Warsaw</a:t>
              </a:r>
              <a:endParaRPr lang="en-US" sz="1400" dirty="0" smtClean="0">
                <a:solidFill>
                  <a:schemeClr val="accent4"/>
                </a:solidFill>
                <a:latin typeface="+mn-lt"/>
                <a:ea typeface="Bebas Neue" charset="0"/>
                <a:cs typeface="Bebas Neue" charset="0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203383" y="1878894"/>
            <a:ext cx="3207542" cy="315839"/>
            <a:chOff x="3374011" y="2881334"/>
            <a:chExt cx="3207542" cy="315839"/>
          </a:xfrm>
        </p:grpSpPr>
        <p:cxnSp>
          <p:nvCxnSpPr>
            <p:cNvPr id="107" name="Straight Connector 106"/>
            <p:cNvCxnSpPr/>
            <p:nvPr/>
          </p:nvCxnSpPr>
          <p:spPr>
            <a:xfrm>
              <a:off x="3465929" y="3197173"/>
              <a:ext cx="3115624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3465929" y="3197173"/>
              <a:ext cx="1812706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itle 1"/>
            <p:cNvSpPr txBox="1">
              <a:spLocks/>
            </p:cNvSpPr>
            <p:nvPr/>
          </p:nvSpPr>
          <p:spPr>
            <a:xfrm>
              <a:off x="3374011" y="2881334"/>
              <a:ext cx="1815329" cy="276642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pl-PL" sz="1400" dirty="0" smtClean="0">
                  <a:solidFill>
                    <a:schemeClr val="accent4"/>
                  </a:solidFill>
                  <a:latin typeface="+mn-lt"/>
                  <a:ea typeface="Bebas Neue" charset="0"/>
                  <a:cs typeface="Bebas Neue" charset="0"/>
                </a:rPr>
                <a:t>Paris</a:t>
              </a:r>
              <a:endParaRPr lang="en-US" sz="1400" dirty="0" smtClean="0">
                <a:solidFill>
                  <a:schemeClr val="accent4"/>
                </a:solidFill>
                <a:latin typeface="+mn-lt"/>
                <a:ea typeface="Bebas Neue" charset="0"/>
                <a:cs typeface="Bebas Neue" charset="0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203383" y="2387305"/>
            <a:ext cx="3207542" cy="315839"/>
            <a:chOff x="3374011" y="2881334"/>
            <a:chExt cx="3207542" cy="315839"/>
          </a:xfrm>
        </p:grpSpPr>
        <p:cxnSp>
          <p:nvCxnSpPr>
            <p:cNvPr id="112" name="Straight Connector 111"/>
            <p:cNvCxnSpPr/>
            <p:nvPr/>
          </p:nvCxnSpPr>
          <p:spPr>
            <a:xfrm>
              <a:off x="3465929" y="3197173"/>
              <a:ext cx="3115624" cy="0"/>
            </a:xfrm>
            <a:prstGeom prst="line">
              <a:avLst/>
            </a:prstGeom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3465929" y="3197173"/>
              <a:ext cx="2113556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itle 1"/>
            <p:cNvSpPr txBox="1">
              <a:spLocks/>
            </p:cNvSpPr>
            <p:nvPr/>
          </p:nvSpPr>
          <p:spPr>
            <a:xfrm>
              <a:off x="3374011" y="2881334"/>
              <a:ext cx="1815329" cy="276642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pl-PL" sz="1400" dirty="0" smtClean="0">
                  <a:solidFill>
                    <a:schemeClr val="accent4"/>
                  </a:solidFill>
                  <a:latin typeface="+mn-lt"/>
                  <a:ea typeface="Bebas Neue" charset="0"/>
                  <a:cs typeface="Bebas Neue" charset="0"/>
                </a:rPr>
                <a:t>Barcelona</a:t>
              </a:r>
              <a:endParaRPr lang="en-US" sz="1400" dirty="0" smtClean="0">
                <a:solidFill>
                  <a:schemeClr val="accent4"/>
                </a:solidFill>
                <a:latin typeface="+mn-lt"/>
                <a:ea typeface="Bebas Neue" charset="0"/>
                <a:cs typeface="Bebas Neue" charset="0"/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1540831" y="5786191"/>
            <a:ext cx="334818" cy="334818"/>
            <a:chOff x="4882960" y="3371850"/>
            <a:chExt cx="469900" cy="469900"/>
          </a:xfrm>
        </p:grpSpPr>
        <p:sp>
          <p:nvSpPr>
            <p:cNvPr id="117" name="Oval 116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Oval 117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Oval 118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2177881" y="4720006"/>
            <a:ext cx="334818" cy="334818"/>
            <a:chOff x="4882960" y="3371850"/>
            <a:chExt cx="469900" cy="469900"/>
          </a:xfrm>
        </p:grpSpPr>
        <p:sp>
          <p:nvSpPr>
            <p:cNvPr id="121" name="Oval 120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Oval 121"/>
            <p:cNvSpPr/>
            <p:nvPr/>
          </p:nvSpPr>
          <p:spPr>
            <a:xfrm>
              <a:off x="4949635" y="3438525"/>
              <a:ext cx="336550" cy="336550"/>
            </a:xfrm>
            <a:prstGeom prst="ellipse">
              <a:avLst/>
            </a:prstGeom>
            <a:solidFill>
              <a:schemeClr val="accent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Oval 122"/>
            <p:cNvSpPr/>
            <p:nvPr/>
          </p:nvSpPr>
          <p:spPr>
            <a:xfrm>
              <a:off x="5028694" y="3517584"/>
              <a:ext cx="178429" cy="178429"/>
            </a:xfrm>
            <a:prstGeom prst="ellipse">
              <a:avLst/>
            </a:prstGeom>
            <a:ln w="190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Freeform 89"/>
          <p:cNvSpPr/>
          <p:nvPr/>
        </p:nvSpPr>
        <p:spPr>
          <a:xfrm flipH="1">
            <a:off x="2730979" y="1731136"/>
            <a:ext cx="334031" cy="230462"/>
          </a:xfrm>
          <a:custGeom>
            <a:avLst/>
            <a:gdLst>
              <a:gd name="connsiteX0" fmla="*/ 68749 w 334031"/>
              <a:gd name="connsiteY0" fmla="*/ 0 h 230462"/>
              <a:gd name="connsiteX1" fmla="*/ 68749 w 334031"/>
              <a:gd name="connsiteY1" fmla="*/ 60892 h 230462"/>
              <a:gd name="connsiteX2" fmla="*/ 0 w 334031"/>
              <a:gd name="connsiteY2" fmla="*/ 60892 h 230462"/>
              <a:gd name="connsiteX3" fmla="*/ 0 w 334031"/>
              <a:gd name="connsiteY3" fmla="*/ 230462 h 230462"/>
              <a:gd name="connsiteX4" fmla="*/ 334031 w 334031"/>
              <a:gd name="connsiteY4" fmla="*/ 230462 h 230462"/>
              <a:gd name="connsiteX5" fmla="*/ 334031 w 334031"/>
              <a:gd name="connsiteY5" fmla="*/ 60892 h 230462"/>
              <a:gd name="connsiteX6" fmla="*/ 123440 w 334031"/>
              <a:gd name="connsiteY6" fmla="*/ 60892 h 23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4031" h="230462">
                <a:moveTo>
                  <a:pt x="68749" y="0"/>
                </a:moveTo>
                <a:lnTo>
                  <a:pt x="68749" y="60892"/>
                </a:lnTo>
                <a:lnTo>
                  <a:pt x="0" y="60892"/>
                </a:lnTo>
                <a:lnTo>
                  <a:pt x="0" y="230462"/>
                </a:lnTo>
                <a:lnTo>
                  <a:pt x="334031" y="230462"/>
                </a:lnTo>
                <a:lnTo>
                  <a:pt x="334031" y="60892"/>
                </a:lnTo>
                <a:lnTo>
                  <a:pt x="123440" y="60892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en-US" sz="1000" dirty="0" smtClean="0">
                <a:solidFill>
                  <a:schemeClr val="accent4"/>
                </a:solidFill>
              </a:rPr>
              <a:t>90%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91" name="Freeform 90"/>
          <p:cNvSpPr/>
          <p:nvPr/>
        </p:nvSpPr>
        <p:spPr>
          <a:xfrm flipH="1">
            <a:off x="1837112" y="2244804"/>
            <a:ext cx="334031" cy="230462"/>
          </a:xfrm>
          <a:custGeom>
            <a:avLst/>
            <a:gdLst>
              <a:gd name="connsiteX0" fmla="*/ 68749 w 334031"/>
              <a:gd name="connsiteY0" fmla="*/ 0 h 230462"/>
              <a:gd name="connsiteX1" fmla="*/ 68749 w 334031"/>
              <a:gd name="connsiteY1" fmla="*/ 60892 h 230462"/>
              <a:gd name="connsiteX2" fmla="*/ 0 w 334031"/>
              <a:gd name="connsiteY2" fmla="*/ 60892 h 230462"/>
              <a:gd name="connsiteX3" fmla="*/ 0 w 334031"/>
              <a:gd name="connsiteY3" fmla="*/ 230462 h 230462"/>
              <a:gd name="connsiteX4" fmla="*/ 334031 w 334031"/>
              <a:gd name="connsiteY4" fmla="*/ 230462 h 230462"/>
              <a:gd name="connsiteX5" fmla="*/ 334031 w 334031"/>
              <a:gd name="connsiteY5" fmla="*/ 60892 h 230462"/>
              <a:gd name="connsiteX6" fmla="*/ 123440 w 334031"/>
              <a:gd name="connsiteY6" fmla="*/ 60892 h 23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4031" h="230462">
                <a:moveTo>
                  <a:pt x="68749" y="0"/>
                </a:moveTo>
                <a:lnTo>
                  <a:pt x="68749" y="60892"/>
                </a:lnTo>
                <a:lnTo>
                  <a:pt x="0" y="60892"/>
                </a:lnTo>
                <a:lnTo>
                  <a:pt x="0" y="230462"/>
                </a:lnTo>
                <a:lnTo>
                  <a:pt x="334031" y="230462"/>
                </a:lnTo>
                <a:lnTo>
                  <a:pt x="334031" y="60892"/>
                </a:lnTo>
                <a:lnTo>
                  <a:pt x="123440" y="60892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en-US" sz="1000" smtClean="0">
                <a:solidFill>
                  <a:schemeClr val="accent4"/>
                </a:solidFill>
              </a:rPr>
              <a:t>60</a:t>
            </a:r>
            <a:r>
              <a:rPr lang="en-US" sz="1000" dirty="0" smtClean="0">
                <a:solidFill>
                  <a:schemeClr val="accent4"/>
                </a:solidFill>
              </a:rPr>
              <a:t>%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92" name="Freeform 91"/>
          <p:cNvSpPr/>
          <p:nvPr/>
        </p:nvSpPr>
        <p:spPr>
          <a:xfrm flipH="1">
            <a:off x="2138501" y="2759554"/>
            <a:ext cx="334031" cy="230462"/>
          </a:xfrm>
          <a:custGeom>
            <a:avLst/>
            <a:gdLst>
              <a:gd name="connsiteX0" fmla="*/ 68749 w 334031"/>
              <a:gd name="connsiteY0" fmla="*/ 0 h 230462"/>
              <a:gd name="connsiteX1" fmla="*/ 68749 w 334031"/>
              <a:gd name="connsiteY1" fmla="*/ 60892 h 230462"/>
              <a:gd name="connsiteX2" fmla="*/ 0 w 334031"/>
              <a:gd name="connsiteY2" fmla="*/ 60892 h 230462"/>
              <a:gd name="connsiteX3" fmla="*/ 0 w 334031"/>
              <a:gd name="connsiteY3" fmla="*/ 230462 h 230462"/>
              <a:gd name="connsiteX4" fmla="*/ 334031 w 334031"/>
              <a:gd name="connsiteY4" fmla="*/ 230462 h 230462"/>
              <a:gd name="connsiteX5" fmla="*/ 334031 w 334031"/>
              <a:gd name="connsiteY5" fmla="*/ 60892 h 230462"/>
              <a:gd name="connsiteX6" fmla="*/ 123440 w 334031"/>
              <a:gd name="connsiteY6" fmla="*/ 60892 h 23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4031" h="230462">
                <a:moveTo>
                  <a:pt x="68749" y="0"/>
                </a:moveTo>
                <a:lnTo>
                  <a:pt x="68749" y="60892"/>
                </a:lnTo>
                <a:lnTo>
                  <a:pt x="0" y="60892"/>
                </a:lnTo>
                <a:lnTo>
                  <a:pt x="0" y="230462"/>
                </a:lnTo>
                <a:lnTo>
                  <a:pt x="334031" y="230462"/>
                </a:lnTo>
                <a:lnTo>
                  <a:pt x="334031" y="60892"/>
                </a:lnTo>
                <a:lnTo>
                  <a:pt x="123440" y="60892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en-US" sz="1000" dirty="0" smtClean="0">
                <a:solidFill>
                  <a:schemeClr val="accent4"/>
                </a:solidFill>
              </a:rPr>
              <a:t>75%</a:t>
            </a:r>
            <a:endParaRPr lang="en-US" sz="10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21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58828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798" r="26798"/>
          <a:stretch>
            <a:fillRect/>
          </a:stretch>
        </p:blipFill>
        <p:spPr/>
      </p:pic>
      <p:sp>
        <p:nvSpPr>
          <p:cNvPr id="60" name="Slide Number Placeholder 5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E92F51-9D7A-4895-B642-F19EBC2F540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8044543" y="1659467"/>
            <a:ext cx="3847419" cy="939473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00"/>
              </a:lnSpc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20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80" name="Content Placeholder 15"/>
          <p:cNvSpPr txBox="1">
            <a:spLocks/>
          </p:cNvSpPr>
          <p:nvPr/>
        </p:nvSpPr>
        <p:spPr>
          <a:xfrm>
            <a:off x="8044544" y="943429"/>
            <a:ext cx="3847419" cy="4197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000" b="1" i="0" kern="1200" baseline="0" dirty="0" smtClean="0">
                <a:solidFill>
                  <a:srgbClr val="1A2530"/>
                </a:solidFill>
                <a:uFillTx/>
                <a:latin typeface="Source Sans Pro Semibold" panose="020B06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Tit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811813" y="943429"/>
            <a:ext cx="3846286" cy="4281714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78" name="Content Placeholder 15"/>
          <p:cNvSpPr txBox="1">
            <a:spLocks/>
          </p:cNvSpPr>
          <p:nvPr/>
        </p:nvSpPr>
        <p:spPr>
          <a:xfrm>
            <a:off x="5052786" y="1154910"/>
            <a:ext cx="23513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err="1" smtClean="0">
                <a:solidFill>
                  <a:schemeClr val="tx1"/>
                </a:solidFill>
              </a:rPr>
              <a:t>Kotio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9" name="Content Placeholder 15"/>
          <p:cNvSpPr txBox="1">
            <a:spLocks/>
          </p:cNvSpPr>
          <p:nvPr/>
        </p:nvSpPr>
        <p:spPr>
          <a:xfrm>
            <a:off x="5052786" y="2185282"/>
            <a:ext cx="235131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err="1" smtClean="0"/>
              <a:t>Overwiev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5580529" y="2502162"/>
            <a:ext cx="44969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1" y="0"/>
            <a:ext cx="4773386" cy="6858000"/>
          </a:xfrm>
          <a:prstGeom prst="rect">
            <a:avLst/>
          </a:prstGeom>
          <a:solidFill>
            <a:srgbClr val="262626">
              <a:alpha val="1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3913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815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5" name="Rectangle 24"/>
          <p:cNvSpPr/>
          <p:nvPr/>
        </p:nvSpPr>
        <p:spPr>
          <a:xfrm flipH="1">
            <a:off x="692334" y="598815"/>
            <a:ext cx="3639463" cy="8309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u="none" strike="noStrike" kern="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We are the best</a:t>
            </a:r>
            <a:endParaRPr kumimoji="0" lang="lt-LT" sz="3600" b="1" u="none" strike="noStrike" kern="0" cap="all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92333" y="1632266"/>
            <a:ext cx="3639463" cy="3209572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2000" dirty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ipsum dolor sit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20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20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73043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9900" b="1" u="none" strike="noStrike" kern="0" cap="all" spc="0" normalizeH="0" baseline="0" noProof="0" dirty="0" smtClean="0">
                <a:ln>
                  <a:noFill/>
                </a:ln>
                <a:solidFill>
                  <a:schemeClr val="bg1">
                    <a:alpha val="50000"/>
                  </a:schemeClr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1</a:t>
            </a:r>
            <a:endParaRPr kumimoji="0" lang="lt-LT" sz="19900" b="1" u="none" strike="noStrike" kern="0" cap="all" spc="0" normalizeH="0" baseline="0" noProof="0" dirty="0" smtClean="0">
              <a:ln>
                <a:noFill/>
              </a:ln>
              <a:solidFill>
                <a:schemeClr val="bg1">
                  <a:alpha val="50000"/>
                </a:scheme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81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81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>
          <a:xfrm>
            <a:off x="0" y="-8549"/>
            <a:ext cx="12192000" cy="6866548"/>
          </a:xfrm>
        </p:spPr>
      </p:pic>
      <p:sp>
        <p:nvSpPr>
          <p:cNvPr id="2" name="Rectangle 1"/>
          <p:cNvSpPr/>
          <p:nvPr/>
        </p:nvSpPr>
        <p:spPr>
          <a:xfrm>
            <a:off x="0" y="-8548"/>
            <a:ext cx="12192000" cy="6866548"/>
          </a:xfrm>
          <a:prstGeom prst="rect">
            <a:avLst/>
          </a:prstGeom>
          <a:solidFill>
            <a:srgbClr val="262626">
              <a:alpha val="2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33" name="Rectangle 32"/>
          <p:cNvSpPr/>
          <p:nvPr/>
        </p:nvSpPr>
        <p:spPr>
          <a:xfrm>
            <a:off x="1979388" y="2964296"/>
            <a:ext cx="2605737" cy="313473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1979388" y="2037449"/>
            <a:ext cx="2605737" cy="107111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4816173" y="2964296"/>
            <a:ext cx="2605737" cy="313473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4816174" y="2037449"/>
            <a:ext cx="2605737" cy="107111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Rectangle 65"/>
          <p:cNvSpPr/>
          <p:nvPr/>
        </p:nvSpPr>
        <p:spPr>
          <a:xfrm>
            <a:off x="7606874" y="2964296"/>
            <a:ext cx="2605737" cy="313473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7606875" y="2037449"/>
            <a:ext cx="2605737" cy="107111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2106598" y="2216424"/>
            <a:ext cx="2351313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dirty="0" smtClean="0">
                <a:solidFill>
                  <a:schemeClr val="bg1">
                    <a:lumMod val="95000"/>
                  </a:schemeClr>
                </a:solidFill>
              </a:rPr>
              <a:t>Title</a:t>
            </a:r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8" name="Content Placeholder 15"/>
          <p:cNvSpPr txBox="1">
            <a:spLocks/>
          </p:cNvSpPr>
          <p:nvPr/>
        </p:nvSpPr>
        <p:spPr>
          <a:xfrm>
            <a:off x="4943384" y="2216424"/>
            <a:ext cx="2351313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dirty="0" smtClean="0">
                <a:solidFill>
                  <a:schemeClr val="bg1">
                    <a:lumMod val="95000"/>
                  </a:schemeClr>
                </a:solidFill>
              </a:rPr>
              <a:t>title</a:t>
            </a:r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9" name="Content Placeholder 15"/>
          <p:cNvSpPr txBox="1">
            <a:spLocks/>
          </p:cNvSpPr>
          <p:nvPr/>
        </p:nvSpPr>
        <p:spPr>
          <a:xfrm>
            <a:off x="7734085" y="2216424"/>
            <a:ext cx="2351313" cy="46166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dirty="0" smtClean="0">
                <a:solidFill>
                  <a:schemeClr val="bg1">
                    <a:lumMod val="95000"/>
                  </a:schemeClr>
                </a:solidFill>
              </a:rPr>
              <a:t>Title</a:t>
            </a:r>
            <a:endParaRPr lang="en-US" sz="3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3" name="Title 1"/>
          <p:cNvSpPr txBox="1">
            <a:spLocks/>
          </p:cNvSpPr>
          <p:nvPr/>
        </p:nvSpPr>
        <p:spPr>
          <a:xfrm>
            <a:off x="2106598" y="3232198"/>
            <a:ext cx="2361189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5001783" y="3232198"/>
            <a:ext cx="2361189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75" name="Title 1"/>
          <p:cNvSpPr txBox="1">
            <a:spLocks/>
          </p:cNvSpPr>
          <p:nvPr/>
        </p:nvSpPr>
        <p:spPr>
          <a:xfrm>
            <a:off x="7743566" y="3232198"/>
            <a:ext cx="2361189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95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95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879182" y="5914570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6693798" y="5914570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9484499" y="5914570"/>
            <a:ext cx="455070" cy="207549"/>
          </a:xfrm>
          <a:prstGeom prst="rect">
            <a:avLst/>
          </a:prstGeom>
          <a:noFill/>
          <a:ln w="63500" cap="flat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300038" y="260350"/>
            <a:ext cx="316565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Text slide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300038" y="858776"/>
            <a:ext cx="3165651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>
                <a:solidFill>
                  <a:schemeClr val="bg1">
                    <a:lumMod val="95000"/>
                  </a:schemeClr>
                </a:solidFill>
              </a:rPr>
              <a:t>Basic elements</a:t>
            </a:r>
            <a:endParaRPr lang="en-US" i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60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55493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6" name="Rectangle 15"/>
          <p:cNvSpPr/>
          <p:nvPr/>
        </p:nvSpPr>
        <p:spPr>
          <a:xfrm>
            <a:off x="300038" y="273637"/>
            <a:ext cx="11591925" cy="6350907"/>
          </a:xfrm>
          <a:prstGeom prst="rect">
            <a:avLst/>
          </a:prstGeom>
          <a:solidFill>
            <a:srgbClr val="FFFFFF">
              <a:alpha val="3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9663792" y="4134813"/>
            <a:ext cx="2474687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 smtClean="0">
                <a:solidFill>
                  <a:schemeClr val="tx1"/>
                </a:solidFill>
                <a:latin typeface="Source Sans Pro Semibold" panose="020B0603030403020204" pitchFamily="34" charset="-18"/>
              </a:rPr>
              <a:t>01</a:t>
            </a:r>
            <a:endParaRPr lang="en-US" sz="138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11" name="Content Placeholder 15"/>
          <p:cNvSpPr txBox="1">
            <a:spLocks/>
          </p:cNvSpPr>
          <p:nvPr/>
        </p:nvSpPr>
        <p:spPr>
          <a:xfrm>
            <a:off x="3133165" y="278542"/>
            <a:ext cx="8536734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0" dirty="0" smtClean="0">
                <a:solidFill>
                  <a:schemeClr val="tx1"/>
                </a:solidFill>
              </a:rPr>
              <a:t>Section slide</a:t>
            </a:r>
            <a:endParaRPr lang="en-US" sz="8000" dirty="0">
              <a:solidFill>
                <a:schemeClr val="tx1"/>
              </a:solidFill>
            </a:endParaRPr>
          </a:p>
        </p:txBody>
      </p:sp>
      <p:sp>
        <p:nvSpPr>
          <p:cNvPr id="14" name="Content Placeholder 15"/>
          <p:cNvSpPr txBox="1">
            <a:spLocks/>
          </p:cNvSpPr>
          <p:nvPr/>
        </p:nvSpPr>
        <p:spPr>
          <a:xfrm>
            <a:off x="9212191" y="1391123"/>
            <a:ext cx="235131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smtClean="0"/>
              <a:t>Divi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18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356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harts</a:t>
            </a:r>
            <a:endParaRPr lang="en-US" dirty="0"/>
          </a:p>
        </p:txBody>
      </p:sp>
      <p:sp>
        <p:nvSpPr>
          <p:cNvPr id="3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2" name="Chart 151"/>
          <p:cNvGraphicFramePr/>
          <p:nvPr>
            <p:extLst>
              <p:ext uri="{D42A27DB-BD31-4B8C-83A1-F6EECF244321}">
                <p14:modId xmlns:p14="http://schemas.microsoft.com/office/powerpoint/2010/main" val="1953719800"/>
              </p:ext>
            </p:extLst>
          </p:nvPr>
        </p:nvGraphicFramePr>
        <p:xfrm>
          <a:off x="3950919" y="988828"/>
          <a:ext cx="8080744" cy="5297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14667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424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735908785"/>
              </p:ext>
            </p:extLst>
          </p:nvPr>
        </p:nvGraphicFramePr>
        <p:xfrm>
          <a:off x="4086450" y="1419654"/>
          <a:ext cx="7686450" cy="4962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2626475" y="1278480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5"/>
          <p:cNvSpPr txBox="1">
            <a:spLocks/>
          </p:cNvSpPr>
          <p:nvPr/>
        </p:nvSpPr>
        <p:spPr>
          <a:xfrm>
            <a:off x="393678" y="260350"/>
            <a:ext cx="3206773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harts</a:t>
            </a:r>
            <a:endParaRPr lang="en-US" dirty="0"/>
          </a:p>
        </p:txBody>
      </p:sp>
      <p:sp>
        <p:nvSpPr>
          <p:cNvPr id="14" name="Content Placeholder 15"/>
          <p:cNvSpPr txBox="1">
            <a:spLocks/>
          </p:cNvSpPr>
          <p:nvPr/>
        </p:nvSpPr>
        <p:spPr>
          <a:xfrm>
            <a:off x="393678" y="858776"/>
            <a:ext cx="3206773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/>
              <a:t>Basic elements</a:t>
            </a:r>
            <a:endParaRPr lang="en-US" i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93700" y="1969181"/>
            <a:ext cx="3207533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Lorem ipsum dolor sit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m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onsectetu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dipiscing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orbi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ibero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apien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cursu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lorem at, convallis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hendreri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or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uis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vulputat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ellentesqu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dui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ge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nare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liqua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ignissim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lacerat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400" dirty="0" err="1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auctor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81825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6</TotalTime>
  <Words>1396</Words>
  <Application>Microsoft Macintosh PowerPoint</Application>
  <PresentationFormat>Widescreen</PresentationFormat>
  <Paragraphs>295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8" baseType="lpstr">
      <vt:lpstr>Arial</vt:lpstr>
      <vt:lpstr>Bebas Neue</vt:lpstr>
      <vt:lpstr>Calibri</vt:lpstr>
      <vt:lpstr>Century Gothic</vt:lpstr>
      <vt:lpstr>Georgia</vt:lpstr>
      <vt:lpstr>Open Sans</vt:lpstr>
      <vt:lpstr>Roboto Condensed Bold</vt:lpstr>
      <vt:lpstr>Source Sans Pro</vt:lpstr>
      <vt:lpstr>Source Sans Pro Black</vt:lpstr>
      <vt:lpstr>Source Sans Pro ExtraLight</vt:lpstr>
      <vt:lpstr>Source Sans Pro Light</vt:lpstr>
      <vt:lpstr>Source Sans Pro Semibold</vt:lpstr>
      <vt:lpstr>굴림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Microsoft Office User</cp:lastModifiedBy>
  <cp:revision>162</cp:revision>
  <dcterms:created xsi:type="dcterms:W3CDTF">2016-07-06T10:54:59Z</dcterms:created>
  <dcterms:modified xsi:type="dcterms:W3CDTF">2017-01-27T00:44:29Z</dcterms:modified>
</cp:coreProperties>
</file>